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679" r:id="rId1"/>
  </p:sldMasterIdLst>
  <p:notesMasterIdLst>
    <p:notesMasterId r:id="rId13"/>
  </p:notesMasterIdLst>
  <p:handoutMasterIdLst>
    <p:handoutMasterId r:id="rId14"/>
  </p:handoutMasterIdLst>
  <p:sldIdLst>
    <p:sldId id="274" r:id="rId2"/>
    <p:sldId id="295" r:id="rId3"/>
    <p:sldId id="293" r:id="rId4"/>
    <p:sldId id="291" r:id="rId5"/>
    <p:sldId id="294" r:id="rId6"/>
    <p:sldId id="260" r:id="rId7"/>
    <p:sldId id="296" r:id="rId8"/>
    <p:sldId id="297" r:id="rId9"/>
    <p:sldId id="298" r:id="rId10"/>
    <p:sldId id="300" r:id="rId11"/>
    <p:sldId id="289" r:id="rId12"/>
  </p:sldIdLst>
  <p:sldSz cx="9144000" cy="6858000" type="screen4x3"/>
  <p:notesSz cx="6797675" cy="9856788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 G" initials="LG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96" autoAdjust="0"/>
    <p:restoredTop sz="94648" autoAdjust="0"/>
  </p:normalViewPr>
  <p:slideViewPr>
    <p:cSldViewPr>
      <p:cViewPr>
        <p:scale>
          <a:sx n="94" d="100"/>
          <a:sy n="94" d="100"/>
        </p:scale>
        <p:origin x="-888" y="-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7" d="100"/>
          <a:sy n="87" d="100"/>
        </p:scale>
        <p:origin x="-3690" y="-78"/>
      </p:cViewPr>
      <p:guideLst>
        <p:guide orient="horz" pos="3104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image" Target="../media/image18.jpeg"/><Relationship Id="rId4" Type="http://schemas.openxmlformats.org/officeDocument/2006/relationships/image" Target="../media/image21.jpe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jpg"/><Relationship Id="rId1" Type="http://schemas.openxmlformats.org/officeDocument/2006/relationships/image" Target="../media/image22.jpeg"/><Relationship Id="rId5" Type="http://schemas.openxmlformats.org/officeDocument/2006/relationships/image" Target="../media/image26.jpg"/><Relationship Id="rId4" Type="http://schemas.openxmlformats.org/officeDocument/2006/relationships/image" Target="../media/image25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image" Target="../media/image18.jpeg"/><Relationship Id="rId4" Type="http://schemas.openxmlformats.org/officeDocument/2006/relationships/image" Target="../media/image21.jpe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jpg"/><Relationship Id="rId1" Type="http://schemas.openxmlformats.org/officeDocument/2006/relationships/image" Target="../media/image22.jpeg"/><Relationship Id="rId5" Type="http://schemas.openxmlformats.org/officeDocument/2006/relationships/image" Target="../media/image26.jpg"/><Relationship Id="rId4" Type="http://schemas.openxmlformats.org/officeDocument/2006/relationships/image" Target="../media/image25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DCFCFE5-CFA6-4960-A3C4-61B26AF96FA3}" type="doc">
      <dgm:prSet loTypeId="urn:microsoft.com/office/officeart/2005/8/layout/hList7#1" loCatId="list" qsTypeId="urn:microsoft.com/office/officeart/2005/8/quickstyle/simple1" qsCatId="simple" csTypeId="urn:microsoft.com/office/officeart/2005/8/colors/accent2_3" csCatId="accent2" phldr="1"/>
      <dgm:spPr>
        <a:scene3d>
          <a:camera prst="perspectiveRelaxedModerately"/>
          <a:lightRig rig="twoPt" dir="t"/>
        </a:scene3d>
      </dgm:spPr>
      <dgm:t>
        <a:bodyPr/>
        <a:lstStyle/>
        <a:p>
          <a:endParaRPr lang="es-ES"/>
        </a:p>
      </dgm:t>
    </dgm:pt>
    <dgm:pt modelId="{1D39141E-376E-479D-9928-729ABD485B57}">
      <dgm:prSet phldrT="[Texto]" custT="1"/>
      <dgm:spPr>
        <a:scene3d>
          <a:camera prst="perspectiveRelaxedModerately"/>
          <a:lightRig rig="twoPt" dir="t"/>
        </a:scene3d>
        <a:sp3d>
          <a:bevelT h="63500"/>
        </a:sp3d>
      </dgm:spPr>
      <dgm:t>
        <a:bodyPr anchor="ctr"/>
        <a:lstStyle/>
        <a:p>
          <a:pPr algn="ctr"/>
          <a:r>
            <a:rPr lang="es-ES" sz="2400" dirty="0" err="1" smtClean="0">
              <a:latin typeface="Calibri" pitchFamily="34" charset="0"/>
              <a:cs typeface="Calibri" pitchFamily="34" charset="0"/>
            </a:rPr>
            <a:t>Integration</a:t>
          </a:r>
          <a:endParaRPr lang="es-ES" sz="2400" dirty="0" smtClean="0">
            <a:latin typeface="Calibri" pitchFamily="34" charset="0"/>
            <a:cs typeface="Calibri" pitchFamily="34" charset="0"/>
          </a:endParaRPr>
        </a:p>
        <a:p>
          <a:pPr algn="ctr"/>
          <a:r>
            <a:rPr lang="es-ES" sz="1600" dirty="0" smtClean="0">
              <a:latin typeface="Calibri" pitchFamily="34" charset="0"/>
              <a:cs typeface="Calibri" pitchFamily="34" charset="0"/>
            </a:rPr>
            <a:t>Software AG</a:t>
          </a:r>
        </a:p>
        <a:p>
          <a:pPr algn="ctr"/>
          <a:r>
            <a:rPr lang="es-ES" sz="1600" dirty="0" err="1" smtClean="0">
              <a:latin typeface="Calibri" pitchFamily="34" charset="0"/>
              <a:cs typeface="Calibri" pitchFamily="34" charset="0"/>
            </a:rPr>
            <a:t>TalenD</a:t>
          </a:r>
          <a:r>
            <a:rPr lang="es-ES" sz="1600" dirty="0" smtClean="0">
              <a:latin typeface="Calibri" pitchFamily="34" charset="0"/>
              <a:cs typeface="Calibri" pitchFamily="34" charset="0"/>
            </a:rPr>
            <a:t> (</a:t>
          </a:r>
          <a:r>
            <a:rPr lang="es-ES" sz="1600" dirty="0" err="1" smtClean="0">
              <a:latin typeface="Calibri" pitchFamily="34" charset="0"/>
              <a:cs typeface="Calibri" pitchFamily="34" charset="0"/>
            </a:rPr>
            <a:t>legacy</a:t>
          </a:r>
          <a:r>
            <a:rPr lang="es-ES" sz="1600" dirty="0" smtClean="0">
              <a:latin typeface="Calibri" pitchFamily="34" charset="0"/>
              <a:cs typeface="Calibri" pitchFamily="34" charset="0"/>
            </a:rPr>
            <a:t>)</a:t>
          </a:r>
        </a:p>
        <a:p>
          <a:pPr algn="ctr"/>
          <a:r>
            <a:rPr lang="es-ES" sz="1600" dirty="0" err="1" smtClean="0">
              <a:latin typeface="Calibri" pitchFamily="34" charset="0"/>
              <a:cs typeface="Calibri" pitchFamily="34" charset="0"/>
            </a:rPr>
            <a:t>Datastage</a:t>
          </a:r>
          <a:r>
            <a:rPr lang="es-ES" sz="1600" dirty="0" smtClean="0">
              <a:latin typeface="Calibri" pitchFamily="34" charset="0"/>
              <a:cs typeface="Calibri" pitchFamily="34" charset="0"/>
            </a:rPr>
            <a:t> (</a:t>
          </a:r>
          <a:r>
            <a:rPr lang="es-ES" sz="1600" dirty="0" err="1" smtClean="0">
              <a:latin typeface="Calibri" pitchFamily="34" charset="0"/>
              <a:cs typeface="Calibri" pitchFamily="34" charset="0"/>
            </a:rPr>
            <a:t>legacy</a:t>
          </a:r>
          <a:r>
            <a:rPr lang="es-ES" sz="1600" dirty="0" smtClean="0">
              <a:latin typeface="Calibri" pitchFamily="34" charset="0"/>
              <a:cs typeface="Calibri" pitchFamily="34" charset="0"/>
            </a:rPr>
            <a:t>)</a:t>
          </a:r>
        </a:p>
      </dgm:t>
    </dgm:pt>
    <dgm:pt modelId="{72D81F37-DAE7-43B3-9284-06AA6E1595EE}" type="parTrans" cxnId="{55CC79B9-C081-4661-BC4F-7D2B1A2582B6}">
      <dgm:prSet/>
      <dgm:spPr/>
      <dgm:t>
        <a:bodyPr/>
        <a:lstStyle/>
        <a:p>
          <a:endParaRPr lang="es-ES" sz="1400">
            <a:latin typeface="Calibri" pitchFamily="34" charset="0"/>
            <a:cs typeface="Calibri" pitchFamily="34" charset="0"/>
          </a:endParaRPr>
        </a:p>
      </dgm:t>
    </dgm:pt>
    <dgm:pt modelId="{6BC83259-9CFF-4D7A-8850-BA7AF4578504}" type="sibTrans" cxnId="{55CC79B9-C081-4661-BC4F-7D2B1A2582B6}">
      <dgm:prSet/>
      <dgm:spPr>
        <a:scene3d>
          <a:camera prst="perspectiveRelaxedModerately"/>
          <a:lightRig rig="twoPt" dir="t"/>
        </a:scene3d>
        <a:sp3d prstMaterial="plastic">
          <a:bevelT h="63500"/>
        </a:sp3d>
      </dgm:spPr>
      <dgm:t>
        <a:bodyPr/>
        <a:lstStyle/>
        <a:p>
          <a:endParaRPr lang="es-ES" sz="1400">
            <a:latin typeface="Calibri" pitchFamily="34" charset="0"/>
            <a:cs typeface="Calibri" pitchFamily="34" charset="0"/>
          </a:endParaRPr>
        </a:p>
      </dgm:t>
    </dgm:pt>
    <dgm:pt modelId="{39AFBEE3-FF3A-4C8A-9CA4-42838190FBF4}">
      <dgm:prSet phldrT="[Texto]" custT="1"/>
      <dgm:spPr>
        <a:scene3d>
          <a:camera prst="perspectiveRelaxedModerately"/>
          <a:lightRig rig="twoPt" dir="t"/>
        </a:scene3d>
        <a:sp3d>
          <a:bevelT h="63500"/>
        </a:sp3d>
      </dgm:spPr>
      <dgm:t>
        <a:bodyPr anchor="ctr"/>
        <a:lstStyle/>
        <a:p>
          <a:r>
            <a:rPr lang="es-ES" sz="2400" dirty="0" smtClean="0">
              <a:latin typeface="Calibri" pitchFamily="34" charset="0"/>
              <a:cs typeface="Calibri" pitchFamily="34" charset="0"/>
            </a:rPr>
            <a:t>Web / </a:t>
          </a:r>
          <a:r>
            <a:rPr lang="es-ES" sz="2400" dirty="0" err="1" smtClean="0">
              <a:latin typeface="Calibri" pitchFamily="34" charset="0"/>
              <a:cs typeface="Calibri" pitchFamily="34" charset="0"/>
            </a:rPr>
            <a:t>eCommerce</a:t>
          </a:r>
          <a:endParaRPr lang="es-ES" sz="2400" dirty="0" smtClean="0">
            <a:latin typeface="Calibri" pitchFamily="34" charset="0"/>
            <a:cs typeface="Calibri" pitchFamily="34" charset="0"/>
          </a:endParaRPr>
        </a:p>
        <a:p>
          <a:r>
            <a:rPr lang="es-ES" sz="1600" dirty="0" smtClean="0">
              <a:latin typeface="Calibri" pitchFamily="34" charset="0"/>
              <a:cs typeface="Calibri" pitchFamily="34" charset="0"/>
            </a:rPr>
            <a:t>J2EE</a:t>
          </a:r>
        </a:p>
        <a:p>
          <a:r>
            <a:rPr lang="es-ES" sz="1600" dirty="0" err="1" smtClean="0">
              <a:latin typeface="Calibri" pitchFamily="34" charset="0"/>
              <a:cs typeface="Calibri" pitchFamily="34" charset="0"/>
            </a:rPr>
            <a:t>Liferay</a:t>
          </a:r>
          <a:endParaRPr lang="es-ES" sz="1600" dirty="0" smtClean="0">
            <a:latin typeface="Calibri" pitchFamily="34" charset="0"/>
            <a:cs typeface="Calibri" pitchFamily="34" charset="0"/>
          </a:endParaRPr>
        </a:p>
        <a:p>
          <a:r>
            <a:rPr lang="es-ES" sz="1600" dirty="0" err="1" smtClean="0">
              <a:latin typeface="Calibri" pitchFamily="34" charset="0"/>
              <a:cs typeface="Calibri" pitchFamily="34" charset="0"/>
            </a:rPr>
            <a:t>Magento</a:t>
          </a:r>
          <a:endParaRPr lang="es-ES" sz="1600" dirty="0" smtClean="0">
            <a:latin typeface="Calibri" pitchFamily="34" charset="0"/>
            <a:cs typeface="Calibri" pitchFamily="34" charset="0"/>
          </a:endParaRPr>
        </a:p>
        <a:p>
          <a:r>
            <a:rPr lang="es-ES" sz="1600" dirty="0" err="1" smtClean="0">
              <a:latin typeface="Calibri" pitchFamily="34" charset="0"/>
              <a:cs typeface="Calibri" pitchFamily="34" charset="0"/>
            </a:rPr>
            <a:t>AngularJS</a:t>
          </a:r>
          <a:endParaRPr lang="es-ES" sz="1600" dirty="0" smtClean="0">
            <a:latin typeface="Calibri" pitchFamily="34" charset="0"/>
            <a:cs typeface="Calibri" pitchFamily="34" charset="0"/>
          </a:endParaRPr>
        </a:p>
      </dgm:t>
    </dgm:pt>
    <dgm:pt modelId="{F387057E-D0B0-4A86-A137-8E59988C703E}" type="parTrans" cxnId="{6915AB55-BE3A-456B-A32A-58DD9F3AED24}">
      <dgm:prSet/>
      <dgm:spPr/>
      <dgm:t>
        <a:bodyPr/>
        <a:lstStyle/>
        <a:p>
          <a:endParaRPr lang="es-ES" sz="1400">
            <a:latin typeface="Calibri" pitchFamily="34" charset="0"/>
            <a:cs typeface="Calibri" pitchFamily="34" charset="0"/>
          </a:endParaRPr>
        </a:p>
      </dgm:t>
    </dgm:pt>
    <dgm:pt modelId="{91C9A587-799A-4E93-AB9E-3C688E1B2122}" type="sibTrans" cxnId="{6915AB55-BE3A-456B-A32A-58DD9F3AED24}">
      <dgm:prSet/>
      <dgm:spPr>
        <a:scene3d>
          <a:camera prst="perspectiveRelaxedModerately"/>
          <a:lightRig rig="twoPt" dir="t"/>
        </a:scene3d>
        <a:sp3d prstMaterial="plastic">
          <a:bevelT h="63500"/>
        </a:sp3d>
      </dgm:spPr>
      <dgm:t>
        <a:bodyPr/>
        <a:lstStyle/>
        <a:p>
          <a:endParaRPr lang="es-ES" sz="1400">
            <a:latin typeface="Calibri" pitchFamily="34" charset="0"/>
            <a:cs typeface="Calibri" pitchFamily="34" charset="0"/>
          </a:endParaRPr>
        </a:p>
      </dgm:t>
    </dgm:pt>
    <dgm:pt modelId="{AC7E612B-7764-4C28-9FCE-2B9AB0D5F4A0}">
      <dgm:prSet phldrT="[Texto]" custT="1"/>
      <dgm:spPr>
        <a:scene3d>
          <a:camera prst="perspectiveRelaxedModerately"/>
          <a:lightRig rig="twoPt" dir="t"/>
        </a:scene3d>
        <a:sp3d>
          <a:bevelT h="63500"/>
        </a:sp3d>
      </dgm:spPr>
      <dgm:t>
        <a:bodyPr anchor="ctr"/>
        <a:lstStyle/>
        <a:p>
          <a:r>
            <a:rPr lang="es-ES" sz="2400" dirty="0" smtClean="0">
              <a:latin typeface="Calibri" pitchFamily="34" charset="0"/>
              <a:cs typeface="Calibri" pitchFamily="34" charset="0"/>
            </a:rPr>
            <a:t>Mobile</a:t>
          </a:r>
        </a:p>
        <a:p>
          <a:r>
            <a:rPr lang="es-ES" sz="1600" dirty="0" err="1" smtClean="0">
              <a:latin typeface="Calibri" pitchFamily="34" charset="0"/>
              <a:cs typeface="Calibri" pitchFamily="34" charset="0"/>
            </a:rPr>
            <a:t>PhoneGap</a:t>
          </a:r>
          <a:r>
            <a:rPr lang="es-ES" sz="1600" dirty="0" smtClean="0">
              <a:latin typeface="Calibri" pitchFamily="34" charset="0"/>
              <a:cs typeface="Calibri" pitchFamily="34" charset="0"/>
            </a:rPr>
            <a:t> </a:t>
          </a:r>
        </a:p>
        <a:p>
          <a:r>
            <a:rPr lang="es-ES" sz="1600" dirty="0" err="1" smtClean="0">
              <a:latin typeface="Calibri" pitchFamily="34" charset="0"/>
              <a:cs typeface="Calibri" pitchFamily="34" charset="0"/>
            </a:rPr>
            <a:t>Ionic</a:t>
          </a:r>
          <a:endParaRPr lang="es-ES" sz="1600" dirty="0" smtClean="0">
            <a:latin typeface="Calibri" pitchFamily="34" charset="0"/>
            <a:cs typeface="Calibri" pitchFamily="34" charset="0"/>
          </a:endParaRPr>
        </a:p>
        <a:p>
          <a:r>
            <a:rPr lang="es-ES" sz="1600" dirty="0" err="1" smtClean="0">
              <a:latin typeface="Calibri" pitchFamily="34" charset="0"/>
              <a:cs typeface="Calibri" pitchFamily="34" charset="0"/>
            </a:rPr>
            <a:t>AngularJS</a:t>
          </a:r>
          <a:endParaRPr lang="es-ES" sz="1600" dirty="0" smtClean="0">
            <a:latin typeface="Calibri" pitchFamily="34" charset="0"/>
            <a:cs typeface="Calibri" pitchFamily="34" charset="0"/>
          </a:endParaRPr>
        </a:p>
        <a:p>
          <a:r>
            <a:rPr lang="es-ES" sz="1600" dirty="0" smtClean="0">
              <a:latin typeface="Calibri" pitchFamily="34" charset="0"/>
              <a:cs typeface="Calibri" pitchFamily="34" charset="0"/>
            </a:rPr>
            <a:t>REST (Java, Node.js)</a:t>
          </a:r>
        </a:p>
      </dgm:t>
    </dgm:pt>
    <dgm:pt modelId="{93B01630-59E0-45F9-A522-32CBCA7AAF85}" type="parTrans" cxnId="{2D291319-EF2A-4D6A-B72F-E61361F827AD}">
      <dgm:prSet/>
      <dgm:spPr/>
      <dgm:t>
        <a:bodyPr/>
        <a:lstStyle/>
        <a:p>
          <a:endParaRPr lang="es-ES" sz="1400">
            <a:latin typeface="Calibri" pitchFamily="34" charset="0"/>
            <a:cs typeface="Calibri" pitchFamily="34" charset="0"/>
          </a:endParaRPr>
        </a:p>
      </dgm:t>
    </dgm:pt>
    <dgm:pt modelId="{EDB2DC66-B413-432A-B564-0D813588741C}" type="sibTrans" cxnId="{2D291319-EF2A-4D6A-B72F-E61361F827AD}">
      <dgm:prSet/>
      <dgm:spPr>
        <a:scene3d>
          <a:camera prst="perspectiveRelaxedModerately"/>
          <a:lightRig rig="twoPt" dir="t"/>
        </a:scene3d>
        <a:sp3d prstMaterial="plastic">
          <a:bevelT h="63500"/>
        </a:sp3d>
      </dgm:spPr>
      <dgm:t>
        <a:bodyPr/>
        <a:lstStyle/>
        <a:p>
          <a:endParaRPr lang="es-ES" sz="1400">
            <a:latin typeface="Calibri" pitchFamily="34" charset="0"/>
            <a:cs typeface="Calibri" pitchFamily="34" charset="0"/>
          </a:endParaRPr>
        </a:p>
      </dgm:t>
    </dgm:pt>
    <dgm:pt modelId="{63431C22-8DB1-4E83-B651-5A13E2A77A35}">
      <dgm:prSet phldrT="[Texto]" custT="1"/>
      <dgm:spPr>
        <a:scene3d>
          <a:camera prst="perspectiveRelaxedModerately"/>
          <a:lightRig rig="twoPt" dir="t"/>
        </a:scene3d>
        <a:sp3d>
          <a:bevelT h="63500"/>
        </a:sp3d>
      </dgm:spPr>
      <dgm:t>
        <a:bodyPr anchor="ctr"/>
        <a:lstStyle/>
        <a:p>
          <a:r>
            <a:rPr lang="es-ES" sz="2400" dirty="0" smtClean="0">
              <a:latin typeface="Calibri" pitchFamily="34" charset="0"/>
              <a:cs typeface="Calibri" pitchFamily="34" charset="0"/>
            </a:rPr>
            <a:t>BI</a:t>
          </a:r>
        </a:p>
        <a:p>
          <a:r>
            <a:rPr lang="es-ES" sz="1600" dirty="0" err="1" smtClean="0">
              <a:latin typeface="Calibri" pitchFamily="34" charset="0"/>
              <a:cs typeface="Calibri" pitchFamily="34" charset="0"/>
            </a:rPr>
            <a:t>QlikView</a:t>
          </a:r>
          <a:endParaRPr lang="es-ES" sz="1600" dirty="0" smtClean="0">
            <a:latin typeface="Calibri" pitchFamily="34" charset="0"/>
            <a:cs typeface="Calibri" pitchFamily="34" charset="0"/>
          </a:endParaRPr>
        </a:p>
        <a:p>
          <a:r>
            <a:rPr lang="es-ES" sz="1600" dirty="0" smtClean="0">
              <a:latin typeface="Calibri" pitchFamily="34" charset="0"/>
              <a:cs typeface="Calibri" pitchFamily="34" charset="0"/>
            </a:rPr>
            <a:t>DWH</a:t>
          </a:r>
        </a:p>
        <a:p>
          <a:r>
            <a:rPr lang="es-ES" sz="1600" dirty="0" err="1" smtClean="0">
              <a:latin typeface="Calibri" pitchFamily="34" charset="0"/>
              <a:cs typeface="Calibri" pitchFamily="34" charset="0"/>
            </a:rPr>
            <a:t>NoSQL</a:t>
          </a:r>
          <a:endParaRPr lang="es-ES" sz="1600" dirty="0">
            <a:latin typeface="Calibri" pitchFamily="34" charset="0"/>
            <a:cs typeface="Calibri" pitchFamily="34" charset="0"/>
          </a:endParaRPr>
        </a:p>
      </dgm:t>
    </dgm:pt>
    <dgm:pt modelId="{13CBDE74-41D9-447B-8361-343C7163374A}" type="parTrans" cxnId="{302B2F5B-93BF-4F2B-8C64-215A16A8B7EB}">
      <dgm:prSet/>
      <dgm:spPr/>
      <dgm:t>
        <a:bodyPr/>
        <a:lstStyle/>
        <a:p>
          <a:endParaRPr lang="es-ES" sz="1400">
            <a:latin typeface="Calibri" pitchFamily="34" charset="0"/>
            <a:cs typeface="Calibri" pitchFamily="34" charset="0"/>
          </a:endParaRPr>
        </a:p>
      </dgm:t>
    </dgm:pt>
    <dgm:pt modelId="{B00BDACB-EBB4-4E86-9890-257A785D31BC}" type="sibTrans" cxnId="{302B2F5B-93BF-4F2B-8C64-215A16A8B7EB}">
      <dgm:prSet/>
      <dgm:spPr/>
      <dgm:t>
        <a:bodyPr/>
        <a:lstStyle/>
        <a:p>
          <a:endParaRPr lang="es-ES" sz="1400">
            <a:latin typeface="Calibri" pitchFamily="34" charset="0"/>
            <a:cs typeface="Calibri" pitchFamily="34" charset="0"/>
          </a:endParaRPr>
        </a:p>
      </dgm:t>
    </dgm:pt>
    <dgm:pt modelId="{51506BF8-B243-4C22-8580-645B401CD94E}" type="pres">
      <dgm:prSet presAssocID="{BDCFCFE5-CFA6-4960-A3C4-61B26AF96FA3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6A283D63-0392-4FE6-94B9-ACAE5AB48E6B}" type="pres">
      <dgm:prSet presAssocID="{BDCFCFE5-CFA6-4960-A3C4-61B26AF96FA3}" presName="fgShape" presStyleLbl="fgShp" presStyleIdx="0" presStyleCnt="1"/>
      <dgm:spPr>
        <a:scene3d>
          <a:camera prst="perspectiveRelaxedModerately"/>
          <a:lightRig rig="twoPt" dir="t"/>
        </a:scene3d>
        <a:sp3d prstMaterial="plastic">
          <a:bevelT h="63500"/>
        </a:sp3d>
      </dgm:spPr>
      <dgm:t>
        <a:bodyPr/>
        <a:lstStyle/>
        <a:p>
          <a:endParaRPr lang="en-GB"/>
        </a:p>
      </dgm:t>
    </dgm:pt>
    <dgm:pt modelId="{3F4F332B-8B34-4FB9-81E3-33EA0318E995}" type="pres">
      <dgm:prSet presAssocID="{BDCFCFE5-CFA6-4960-A3C4-61B26AF96FA3}" presName="linComp" presStyleCnt="0"/>
      <dgm:spPr>
        <a:scene3d>
          <a:camera prst="perspectiveRelaxedModerately"/>
          <a:lightRig rig="twoPt" dir="t"/>
        </a:scene3d>
        <a:sp3d prstMaterial="plastic">
          <a:bevelT h="63500"/>
        </a:sp3d>
      </dgm:spPr>
      <dgm:t>
        <a:bodyPr/>
        <a:lstStyle/>
        <a:p>
          <a:endParaRPr lang="en-GB"/>
        </a:p>
      </dgm:t>
    </dgm:pt>
    <dgm:pt modelId="{9D650AFB-70F5-4D6C-B323-A897FE6599D6}" type="pres">
      <dgm:prSet presAssocID="{1D39141E-376E-479D-9928-729ABD485B57}" presName="compNode" presStyleCnt="0"/>
      <dgm:spPr>
        <a:scene3d>
          <a:camera prst="perspectiveRelaxedModerately"/>
          <a:lightRig rig="twoPt" dir="t"/>
        </a:scene3d>
        <a:sp3d prstMaterial="plastic">
          <a:bevelT h="63500"/>
        </a:sp3d>
      </dgm:spPr>
      <dgm:t>
        <a:bodyPr/>
        <a:lstStyle/>
        <a:p>
          <a:endParaRPr lang="en-GB"/>
        </a:p>
      </dgm:t>
    </dgm:pt>
    <dgm:pt modelId="{C998968B-D2D6-4AE4-A42E-4AEAA33EEFBA}" type="pres">
      <dgm:prSet presAssocID="{1D39141E-376E-479D-9928-729ABD485B57}" presName="bkgdShape" presStyleLbl="node1" presStyleIdx="0" presStyleCnt="4" custLinFactNeighborY="-1310"/>
      <dgm:spPr/>
      <dgm:t>
        <a:bodyPr/>
        <a:lstStyle/>
        <a:p>
          <a:endParaRPr lang="es-ES"/>
        </a:p>
      </dgm:t>
    </dgm:pt>
    <dgm:pt modelId="{00D2A46D-5ED3-478A-A19A-C1E3BAEA014F}" type="pres">
      <dgm:prSet presAssocID="{1D39141E-376E-479D-9928-729ABD485B57}" presName="nodeTx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15A6A12-9908-464E-8E19-FA1A9009D4A2}" type="pres">
      <dgm:prSet presAssocID="{1D39141E-376E-479D-9928-729ABD485B57}" presName="invisiNode" presStyleLbl="node1" presStyleIdx="0" presStyleCnt="4"/>
      <dgm:spPr>
        <a:scene3d>
          <a:camera prst="perspectiveRelaxedModerately"/>
          <a:lightRig rig="twoPt" dir="t"/>
        </a:scene3d>
        <a:sp3d prstMaterial="plastic">
          <a:bevelT h="63500"/>
        </a:sp3d>
      </dgm:spPr>
      <dgm:t>
        <a:bodyPr/>
        <a:lstStyle/>
        <a:p>
          <a:endParaRPr lang="en-GB"/>
        </a:p>
      </dgm:t>
    </dgm:pt>
    <dgm:pt modelId="{0B7306F6-5101-4403-B564-BDA18C28D79B}" type="pres">
      <dgm:prSet presAssocID="{1D39141E-376E-479D-9928-729ABD485B57}" presName="imagNode" presStyleLbl="fgImgPlace1" presStyleIdx="0" presStyleCnt="4" custScaleX="78697" custScaleY="78697" custLinFactNeighborX="1665" custLinFactNeighborY="-18545"/>
      <dgm:spPr>
        <a:blipFill rotWithShape="0">
          <a:blip xmlns:r="http://schemas.openxmlformats.org/officeDocument/2006/relationships" r:embed="rId1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a:blipFill>
        <a:scene3d>
          <a:camera prst="perspectiveRelaxedModerately"/>
          <a:lightRig rig="twoPt" dir="t"/>
        </a:scene3d>
        <a:sp3d prstMaterial="flat">
          <a:bevelT w="0" h="101600"/>
        </a:sp3d>
      </dgm:spPr>
      <dgm:t>
        <a:bodyPr/>
        <a:lstStyle/>
        <a:p>
          <a:endParaRPr lang="en-GB"/>
        </a:p>
      </dgm:t>
    </dgm:pt>
    <dgm:pt modelId="{72EF45CD-5DEF-4E9A-ABBF-FC6DF80F88B7}" type="pres">
      <dgm:prSet presAssocID="{6BC83259-9CFF-4D7A-8850-BA7AF4578504}" presName="sibTrans" presStyleLbl="sibTrans2D1" presStyleIdx="0" presStyleCnt="0"/>
      <dgm:spPr/>
      <dgm:t>
        <a:bodyPr/>
        <a:lstStyle/>
        <a:p>
          <a:endParaRPr lang="es-ES"/>
        </a:p>
      </dgm:t>
    </dgm:pt>
    <dgm:pt modelId="{3956DFF0-0E32-4BE6-BF2F-4BC66B6AE035}" type="pres">
      <dgm:prSet presAssocID="{39AFBEE3-FF3A-4C8A-9CA4-42838190FBF4}" presName="compNode" presStyleCnt="0"/>
      <dgm:spPr>
        <a:scene3d>
          <a:camera prst="perspectiveRelaxedModerately"/>
          <a:lightRig rig="twoPt" dir="t"/>
        </a:scene3d>
        <a:sp3d prstMaterial="plastic">
          <a:bevelT h="63500"/>
        </a:sp3d>
      </dgm:spPr>
      <dgm:t>
        <a:bodyPr/>
        <a:lstStyle/>
        <a:p>
          <a:endParaRPr lang="en-GB"/>
        </a:p>
      </dgm:t>
    </dgm:pt>
    <dgm:pt modelId="{8C194DDD-D765-4389-BFA4-A0EEC008D2BE}" type="pres">
      <dgm:prSet presAssocID="{39AFBEE3-FF3A-4C8A-9CA4-42838190FBF4}" presName="bkgdShape" presStyleLbl="node1" presStyleIdx="1" presStyleCnt="4" custLinFactNeighborX="0" custLinFactNeighborY="0"/>
      <dgm:spPr/>
      <dgm:t>
        <a:bodyPr/>
        <a:lstStyle/>
        <a:p>
          <a:endParaRPr lang="es-ES"/>
        </a:p>
      </dgm:t>
    </dgm:pt>
    <dgm:pt modelId="{1D5E84F7-6ABC-4668-B44D-F7278E87454A}" type="pres">
      <dgm:prSet presAssocID="{39AFBEE3-FF3A-4C8A-9CA4-42838190FBF4}" presName="nodeTx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8B4A00D-3F3F-48F9-B488-955CE1A3A62C}" type="pres">
      <dgm:prSet presAssocID="{39AFBEE3-FF3A-4C8A-9CA4-42838190FBF4}" presName="invisiNode" presStyleLbl="node1" presStyleIdx="1" presStyleCnt="4"/>
      <dgm:spPr>
        <a:scene3d>
          <a:camera prst="perspectiveRelaxedModerately"/>
          <a:lightRig rig="twoPt" dir="t"/>
        </a:scene3d>
        <a:sp3d prstMaterial="plastic">
          <a:bevelT h="63500"/>
        </a:sp3d>
      </dgm:spPr>
      <dgm:t>
        <a:bodyPr/>
        <a:lstStyle/>
        <a:p>
          <a:endParaRPr lang="en-GB"/>
        </a:p>
      </dgm:t>
    </dgm:pt>
    <dgm:pt modelId="{F5EA186D-4DFD-471A-8A0E-91F32EC9CF77}" type="pres">
      <dgm:prSet presAssocID="{39AFBEE3-FF3A-4C8A-9CA4-42838190FBF4}" presName="imagNode" presStyleLbl="fgImgPlace1" presStyleIdx="1" presStyleCnt="4" custScaleX="75031" custScaleY="75031" custLinFactNeighborX="-2474" custLinFactNeighborY="-20403"/>
      <dgm:spPr>
        <a:blipFill rotWithShape="0">
          <a:blip xmlns:r="http://schemas.openxmlformats.org/officeDocument/2006/relationships" r:embed="rId2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a:blipFill>
        <a:scene3d>
          <a:camera prst="perspectiveRelaxedModerately"/>
          <a:lightRig rig="twoPt" dir="t"/>
        </a:scene3d>
        <a:sp3d prstMaterial="flat">
          <a:bevelT w="0" h="101600"/>
        </a:sp3d>
      </dgm:spPr>
      <dgm:t>
        <a:bodyPr/>
        <a:lstStyle/>
        <a:p>
          <a:endParaRPr lang="en-GB"/>
        </a:p>
      </dgm:t>
    </dgm:pt>
    <dgm:pt modelId="{E7C32343-3F83-4C20-8C55-B66E79A97394}" type="pres">
      <dgm:prSet presAssocID="{91C9A587-799A-4E93-AB9E-3C688E1B2122}" presName="sibTrans" presStyleLbl="sibTrans2D1" presStyleIdx="0" presStyleCnt="0"/>
      <dgm:spPr/>
      <dgm:t>
        <a:bodyPr/>
        <a:lstStyle/>
        <a:p>
          <a:endParaRPr lang="es-ES"/>
        </a:p>
      </dgm:t>
    </dgm:pt>
    <dgm:pt modelId="{BBCF0ECB-1F17-4285-A377-850EF6F138EC}" type="pres">
      <dgm:prSet presAssocID="{AC7E612B-7764-4C28-9FCE-2B9AB0D5F4A0}" presName="compNode" presStyleCnt="0"/>
      <dgm:spPr>
        <a:scene3d>
          <a:camera prst="perspectiveRelaxedModerately"/>
          <a:lightRig rig="twoPt" dir="t"/>
        </a:scene3d>
        <a:sp3d prstMaterial="plastic">
          <a:bevelT h="63500"/>
        </a:sp3d>
      </dgm:spPr>
      <dgm:t>
        <a:bodyPr/>
        <a:lstStyle/>
        <a:p>
          <a:endParaRPr lang="en-GB"/>
        </a:p>
      </dgm:t>
    </dgm:pt>
    <dgm:pt modelId="{60153C19-737B-4D93-97E1-1FA7B618209E}" type="pres">
      <dgm:prSet presAssocID="{AC7E612B-7764-4C28-9FCE-2B9AB0D5F4A0}" presName="bkgdShape" presStyleLbl="node1" presStyleIdx="2" presStyleCnt="4"/>
      <dgm:spPr/>
      <dgm:t>
        <a:bodyPr/>
        <a:lstStyle/>
        <a:p>
          <a:endParaRPr lang="es-ES"/>
        </a:p>
      </dgm:t>
    </dgm:pt>
    <dgm:pt modelId="{B991D9F1-7E6A-43D3-887C-8ECFC4C89220}" type="pres">
      <dgm:prSet presAssocID="{AC7E612B-7764-4C28-9FCE-2B9AB0D5F4A0}" presName="nodeTx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087D156-AB81-46ED-A5E6-A9A02EFF3A8B}" type="pres">
      <dgm:prSet presAssocID="{AC7E612B-7764-4C28-9FCE-2B9AB0D5F4A0}" presName="invisiNode" presStyleLbl="node1" presStyleIdx="2" presStyleCnt="4"/>
      <dgm:spPr>
        <a:scene3d>
          <a:camera prst="perspectiveRelaxedModerately"/>
          <a:lightRig rig="twoPt" dir="t"/>
        </a:scene3d>
        <a:sp3d prstMaterial="plastic">
          <a:bevelT h="63500"/>
        </a:sp3d>
      </dgm:spPr>
      <dgm:t>
        <a:bodyPr/>
        <a:lstStyle/>
        <a:p>
          <a:endParaRPr lang="en-GB"/>
        </a:p>
      </dgm:t>
    </dgm:pt>
    <dgm:pt modelId="{000099B1-7C95-421D-8D7F-EEE8726C3DB4}" type="pres">
      <dgm:prSet presAssocID="{AC7E612B-7764-4C28-9FCE-2B9AB0D5F4A0}" presName="imagNode" presStyleLbl="fgImgPlace1" presStyleIdx="2" presStyleCnt="4" custScaleX="83153" custScaleY="83153" custLinFactNeighborY="-17928"/>
      <dgm:spPr>
        <a:blipFill rotWithShape="0">
          <a:blip xmlns:r="http://schemas.openxmlformats.org/officeDocument/2006/relationships" r:embed="rId3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a:blipFill>
        <a:scene3d>
          <a:camera prst="perspectiveRelaxedModerately"/>
          <a:lightRig rig="twoPt" dir="t"/>
        </a:scene3d>
        <a:sp3d prstMaterial="flat">
          <a:bevelT w="0" h="101600"/>
        </a:sp3d>
      </dgm:spPr>
      <dgm:t>
        <a:bodyPr/>
        <a:lstStyle/>
        <a:p>
          <a:endParaRPr lang="en-GB"/>
        </a:p>
      </dgm:t>
    </dgm:pt>
    <dgm:pt modelId="{76C83E00-4E3D-46AF-B456-5CE29C4165BD}" type="pres">
      <dgm:prSet presAssocID="{EDB2DC66-B413-432A-B564-0D813588741C}" presName="sibTrans" presStyleLbl="sibTrans2D1" presStyleIdx="0" presStyleCnt="0"/>
      <dgm:spPr/>
      <dgm:t>
        <a:bodyPr/>
        <a:lstStyle/>
        <a:p>
          <a:endParaRPr lang="es-ES"/>
        </a:p>
      </dgm:t>
    </dgm:pt>
    <dgm:pt modelId="{AF0784C2-C70F-4B04-9A2E-08CE79EE29CC}" type="pres">
      <dgm:prSet presAssocID="{63431C22-8DB1-4E83-B651-5A13E2A77A35}" presName="compNode" presStyleCnt="0"/>
      <dgm:spPr>
        <a:scene3d>
          <a:camera prst="perspectiveRelaxedModerately"/>
          <a:lightRig rig="twoPt" dir="t"/>
        </a:scene3d>
        <a:sp3d prstMaterial="plastic">
          <a:bevelT h="63500"/>
        </a:sp3d>
      </dgm:spPr>
      <dgm:t>
        <a:bodyPr/>
        <a:lstStyle/>
        <a:p>
          <a:endParaRPr lang="en-GB"/>
        </a:p>
      </dgm:t>
    </dgm:pt>
    <dgm:pt modelId="{CE7EEFA5-9EB7-4C28-93D5-0B1234852D73}" type="pres">
      <dgm:prSet presAssocID="{63431C22-8DB1-4E83-B651-5A13E2A77A35}" presName="bkgdShape" presStyleLbl="node1" presStyleIdx="3" presStyleCnt="4"/>
      <dgm:spPr/>
      <dgm:t>
        <a:bodyPr/>
        <a:lstStyle/>
        <a:p>
          <a:endParaRPr lang="es-ES"/>
        </a:p>
      </dgm:t>
    </dgm:pt>
    <dgm:pt modelId="{0B11B305-BB2B-41D9-B58B-2D8F9BB296D9}" type="pres">
      <dgm:prSet presAssocID="{63431C22-8DB1-4E83-B651-5A13E2A77A35}" presName="nodeTx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F6AE962-A930-43EF-A9A0-26C21E96957F}" type="pres">
      <dgm:prSet presAssocID="{63431C22-8DB1-4E83-B651-5A13E2A77A35}" presName="invisiNode" presStyleLbl="node1" presStyleIdx="3" presStyleCnt="4"/>
      <dgm:spPr>
        <a:scene3d>
          <a:camera prst="perspectiveRelaxedModerately"/>
          <a:lightRig rig="twoPt" dir="t"/>
        </a:scene3d>
        <a:sp3d prstMaterial="plastic">
          <a:bevelT h="63500"/>
        </a:sp3d>
      </dgm:spPr>
      <dgm:t>
        <a:bodyPr/>
        <a:lstStyle/>
        <a:p>
          <a:endParaRPr lang="en-GB"/>
        </a:p>
      </dgm:t>
    </dgm:pt>
    <dgm:pt modelId="{E98B51E9-B199-4F70-A8D4-E4A6F1B3106D}" type="pres">
      <dgm:prSet presAssocID="{63431C22-8DB1-4E83-B651-5A13E2A77A35}" presName="imagNode" presStyleLbl="fgImgPlace1" presStyleIdx="3" presStyleCnt="4" custScaleX="79198" custScaleY="79198" custLinFactNeighborX="0" custLinFactNeighborY="-19906"/>
      <dgm:spPr>
        <a:blipFill rotWithShape="0">
          <a:blip xmlns:r="http://schemas.openxmlformats.org/officeDocument/2006/relationships" r:embed="rId4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a:blipFill>
        <a:scene3d>
          <a:camera prst="perspectiveRelaxedModerately"/>
          <a:lightRig rig="twoPt" dir="t"/>
        </a:scene3d>
        <a:sp3d prstMaterial="flat">
          <a:bevelT w="0" h="101600"/>
        </a:sp3d>
      </dgm:spPr>
      <dgm:t>
        <a:bodyPr/>
        <a:lstStyle/>
        <a:p>
          <a:endParaRPr lang="en-GB"/>
        </a:p>
      </dgm:t>
    </dgm:pt>
  </dgm:ptLst>
  <dgm:cxnLst>
    <dgm:cxn modelId="{A0A80FE0-8D9F-423E-8F2F-FE0DAD76CD63}" type="presOf" srcId="{63431C22-8DB1-4E83-B651-5A13E2A77A35}" destId="{CE7EEFA5-9EB7-4C28-93D5-0B1234852D73}" srcOrd="0" destOrd="0" presId="urn:microsoft.com/office/officeart/2005/8/layout/hList7#1"/>
    <dgm:cxn modelId="{DD2C37AE-8487-4908-B538-855174305C38}" type="presOf" srcId="{1D39141E-376E-479D-9928-729ABD485B57}" destId="{00D2A46D-5ED3-478A-A19A-C1E3BAEA014F}" srcOrd="1" destOrd="0" presId="urn:microsoft.com/office/officeart/2005/8/layout/hList7#1"/>
    <dgm:cxn modelId="{607376F7-C31B-4F0C-B674-731D5B94236B}" type="presOf" srcId="{AC7E612B-7764-4C28-9FCE-2B9AB0D5F4A0}" destId="{60153C19-737B-4D93-97E1-1FA7B618209E}" srcOrd="0" destOrd="0" presId="urn:microsoft.com/office/officeart/2005/8/layout/hList7#1"/>
    <dgm:cxn modelId="{2D291319-EF2A-4D6A-B72F-E61361F827AD}" srcId="{BDCFCFE5-CFA6-4960-A3C4-61B26AF96FA3}" destId="{AC7E612B-7764-4C28-9FCE-2B9AB0D5F4A0}" srcOrd="2" destOrd="0" parTransId="{93B01630-59E0-45F9-A522-32CBCA7AAF85}" sibTransId="{EDB2DC66-B413-432A-B564-0D813588741C}"/>
    <dgm:cxn modelId="{6915AB55-BE3A-456B-A32A-58DD9F3AED24}" srcId="{BDCFCFE5-CFA6-4960-A3C4-61B26AF96FA3}" destId="{39AFBEE3-FF3A-4C8A-9CA4-42838190FBF4}" srcOrd="1" destOrd="0" parTransId="{F387057E-D0B0-4A86-A137-8E59988C703E}" sibTransId="{91C9A587-799A-4E93-AB9E-3C688E1B2122}"/>
    <dgm:cxn modelId="{939AF40C-2784-45FF-A4D8-14A83B495344}" type="presOf" srcId="{91C9A587-799A-4E93-AB9E-3C688E1B2122}" destId="{E7C32343-3F83-4C20-8C55-B66E79A97394}" srcOrd="0" destOrd="0" presId="urn:microsoft.com/office/officeart/2005/8/layout/hList7#1"/>
    <dgm:cxn modelId="{B24AD23D-FC57-4807-88F8-182A6EE069EF}" type="presOf" srcId="{BDCFCFE5-CFA6-4960-A3C4-61B26AF96FA3}" destId="{51506BF8-B243-4C22-8580-645B401CD94E}" srcOrd="0" destOrd="0" presId="urn:microsoft.com/office/officeart/2005/8/layout/hList7#1"/>
    <dgm:cxn modelId="{56E6A83E-3C06-4D29-937F-BD767E2879BD}" type="presOf" srcId="{39AFBEE3-FF3A-4C8A-9CA4-42838190FBF4}" destId="{8C194DDD-D765-4389-BFA4-A0EEC008D2BE}" srcOrd="0" destOrd="0" presId="urn:microsoft.com/office/officeart/2005/8/layout/hList7#1"/>
    <dgm:cxn modelId="{FCE8AB1A-5402-4EF1-BABC-10E6662BB44D}" type="presOf" srcId="{1D39141E-376E-479D-9928-729ABD485B57}" destId="{C998968B-D2D6-4AE4-A42E-4AEAA33EEFBA}" srcOrd="0" destOrd="0" presId="urn:microsoft.com/office/officeart/2005/8/layout/hList7#1"/>
    <dgm:cxn modelId="{4D6BFF35-0B41-4C33-A953-6A0E3630A149}" type="presOf" srcId="{39AFBEE3-FF3A-4C8A-9CA4-42838190FBF4}" destId="{1D5E84F7-6ABC-4668-B44D-F7278E87454A}" srcOrd="1" destOrd="0" presId="urn:microsoft.com/office/officeart/2005/8/layout/hList7#1"/>
    <dgm:cxn modelId="{45ABE211-B2A4-48DD-82C6-7E14CA04CB38}" type="presOf" srcId="{EDB2DC66-B413-432A-B564-0D813588741C}" destId="{76C83E00-4E3D-46AF-B456-5CE29C4165BD}" srcOrd="0" destOrd="0" presId="urn:microsoft.com/office/officeart/2005/8/layout/hList7#1"/>
    <dgm:cxn modelId="{A70A67FA-341B-4EFF-9C4C-15C376E01E09}" type="presOf" srcId="{6BC83259-9CFF-4D7A-8850-BA7AF4578504}" destId="{72EF45CD-5DEF-4E9A-ABBF-FC6DF80F88B7}" srcOrd="0" destOrd="0" presId="urn:microsoft.com/office/officeart/2005/8/layout/hList7#1"/>
    <dgm:cxn modelId="{302B2F5B-93BF-4F2B-8C64-215A16A8B7EB}" srcId="{BDCFCFE5-CFA6-4960-A3C4-61B26AF96FA3}" destId="{63431C22-8DB1-4E83-B651-5A13E2A77A35}" srcOrd="3" destOrd="0" parTransId="{13CBDE74-41D9-447B-8361-343C7163374A}" sibTransId="{B00BDACB-EBB4-4E86-9890-257A785D31BC}"/>
    <dgm:cxn modelId="{A8464617-C82A-43C9-91F4-DA5B291AB3D3}" type="presOf" srcId="{63431C22-8DB1-4E83-B651-5A13E2A77A35}" destId="{0B11B305-BB2B-41D9-B58B-2D8F9BB296D9}" srcOrd="1" destOrd="0" presId="urn:microsoft.com/office/officeart/2005/8/layout/hList7#1"/>
    <dgm:cxn modelId="{55CC79B9-C081-4661-BC4F-7D2B1A2582B6}" srcId="{BDCFCFE5-CFA6-4960-A3C4-61B26AF96FA3}" destId="{1D39141E-376E-479D-9928-729ABD485B57}" srcOrd="0" destOrd="0" parTransId="{72D81F37-DAE7-43B3-9284-06AA6E1595EE}" sibTransId="{6BC83259-9CFF-4D7A-8850-BA7AF4578504}"/>
    <dgm:cxn modelId="{DB902835-7AF8-4E98-89FE-DBEDB92BF4A6}" type="presOf" srcId="{AC7E612B-7764-4C28-9FCE-2B9AB0D5F4A0}" destId="{B991D9F1-7E6A-43D3-887C-8ECFC4C89220}" srcOrd="1" destOrd="0" presId="urn:microsoft.com/office/officeart/2005/8/layout/hList7#1"/>
    <dgm:cxn modelId="{2E223532-9018-43FB-B441-8C4ED8D9CEA7}" type="presParOf" srcId="{51506BF8-B243-4C22-8580-645B401CD94E}" destId="{6A283D63-0392-4FE6-94B9-ACAE5AB48E6B}" srcOrd="0" destOrd="0" presId="urn:microsoft.com/office/officeart/2005/8/layout/hList7#1"/>
    <dgm:cxn modelId="{1854F9D8-301E-434D-A50F-DE371A823A7A}" type="presParOf" srcId="{51506BF8-B243-4C22-8580-645B401CD94E}" destId="{3F4F332B-8B34-4FB9-81E3-33EA0318E995}" srcOrd="1" destOrd="0" presId="urn:microsoft.com/office/officeart/2005/8/layout/hList7#1"/>
    <dgm:cxn modelId="{71FE051D-03E9-4A8F-BC42-C985E60BDF0E}" type="presParOf" srcId="{3F4F332B-8B34-4FB9-81E3-33EA0318E995}" destId="{9D650AFB-70F5-4D6C-B323-A897FE6599D6}" srcOrd="0" destOrd="0" presId="urn:microsoft.com/office/officeart/2005/8/layout/hList7#1"/>
    <dgm:cxn modelId="{5FFE9CFB-06DD-46AE-A3DD-8366EA4FEEAB}" type="presParOf" srcId="{9D650AFB-70F5-4D6C-B323-A897FE6599D6}" destId="{C998968B-D2D6-4AE4-A42E-4AEAA33EEFBA}" srcOrd="0" destOrd="0" presId="urn:microsoft.com/office/officeart/2005/8/layout/hList7#1"/>
    <dgm:cxn modelId="{2C38EB38-C270-4192-836F-36335BBD6EF4}" type="presParOf" srcId="{9D650AFB-70F5-4D6C-B323-A897FE6599D6}" destId="{00D2A46D-5ED3-478A-A19A-C1E3BAEA014F}" srcOrd="1" destOrd="0" presId="urn:microsoft.com/office/officeart/2005/8/layout/hList7#1"/>
    <dgm:cxn modelId="{1EE82ACD-9689-44CC-B7AC-5756B0B703BF}" type="presParOf" srcId="{9D650AFB-70F5-4D6C-B323-A897FE6599D6}" destId="{E15A6A12-9908-464E-8E19-FA1A9009D4A2}" srcOrd="2" destOrd="0" presId="urn:microsoft.com/office/officeart/2005/8/layout/hList7#1"/>
    <dgm:cxn modelId="{BA8F5B03-01E9-46DC-8534-FEE32A10F6EB}" type="presParOf" srcId="{9D650AFB-70F5-4D6C-B323-A897FE6599D6}" destId="{0B7306F6-5101-4403-B564-BDA18C28D79B}" srcOrd="3" destOrd="0" presId="urn:microsoft.com/office/officeart/2005/8/layout/hList7#1"/>
    <dgm:cxn modelId="{C92E6C8B-961E-4271-9806-6E637736E62E}" type="presParOf" srcId="{3F4F332B-8B34-4FB9-81E3-33EA0318E995}" destId="{72EF45CD-5DEF-4E9A-ABBF-FC6DF80F88B7}" srcOrd="1" destOrd="0" presId="urn:microsoft.com/office/officeart/2005/8/layout/hList7#1"/>
    <dgm:cxn modelId="{95F455E3-11A8-4CE7-B34A-9C8CA1926395}" type="presParOf" srcId="{3F4F332B-8B34-4FB9-81E3-33EA0318E995}" destId="{3956DFF0-0E32-4BE6-BF2F-4BC66B6AE035}" srcOrd="2" destOrd="0" presId="urn:microsoft.com/office/officeart/2005/8/layout/hList7#1"/>
    <dgm:cxn modelId="{3D2482C0-21D4-44D9-AA9F-137A8E49FE3A}" type="presParOf" srcId="{3956DFF0-0E32-4BE6-BF2F-4BC66B6AE035}" destId="{8C194DDD-D765-4389-BFA4-A0EEC008D2BE}" srcOrd="0" destOrd="0" presId="urn:microsoft.com/office/officeart/2005/8/layout/hList7#1"/>
    <dgm:cxn modelId="{04FD7180-F539-48C5-9961-878627A104B2}" type="presParOf" srcId="{3956DFF0-0E32-4BE6-BF2F-4BC66B6AE035}" destId="{1D5E84F7-6ABC-4668-B44D-F7278E87454A}" srcOrd="1" destOrd="0" presId="urn:microsoft.com/office/officeart/2005/8/layout/hList7#1"/>
    <dgm:cxn modelId="{F16B5EED-0BD0-4C46-B134-24F98289A83F}" type="presParOf" srcId="{3956DFF0-0E32-4BE6-BF2F-4BC66B6AE035}" destId="{D8B4A00D-3F3F-48F9-B488-955CE1A3A62C}" srcOrd="2" destOrd="0" presId="urn:microsoft.com/office/officeart/2005/8/layout/hList7#1"/>
    <dgm:cxn modelId="{631321A0-56D3-4857-BCFA-955913461050}" type="presParOf" srcId="{3956DFF0-0E32-4BE6-BF2F-4BC66B6AE035}" destId="{F5EA186D-4DFD-471A-8A0E-91F32EC9CF77}" srcOrd="3" destOrd="0" presId="urn:microsoft.com/office/officeart/2005/8/layout/hList7#1"/>
    <dgm:cxn modelId="{47B123A0-554A-4B33-AB06-1D9BA3C2CA80}" type="presParOf" srcId="{3F4F332B-8B34-4FB9-81E3-33EA0318E995}" destId="{E7C32343-3F83-4C20-8C55-B66E79A97394}" srcOrd="3" destOrd="0" presId="urn:microsoft.com/office/officeart/2005/8/layout/hList7#1"/>
    <dgm:cxn modelId="{2034A8BB-9A75-45F3-99FF-1CBF7A8E3B3D}" type="presParOf" srcId="{3F4F332B-8B34-4FB9-81E3-33EA0318E995}" destId="{BBCF0ECB-1F17-4285-A377-850EF6F138EC}" srcOrd="4" destOrd="0" presId="urn:microsoft.com/office/officeart/2005/8/layout/hList7#1"/>
    <dgm:cxn modelId="{44C90BAA-8253-455D-83D8-372E46ADB089}" type="presParOf" srcId="{BBCF0ECB-1F17-4285-A377-850EF6F138EC}" destId="{60153C19-737B-4D93-97E1-1FA7B618209E}" srcOrd="0" destOrd="0" presId="urn:microsoft.com/office/officeart/2005/8/layout/hList7#1"/>
    <dgm:cxn modelId="{812C5661-E754-497B-9669-579EF02B9541}" type="presParOf" srcId="{BBCF0ECB-1F17-4285-A377-850EF6F138EC}" destId="{B991D9F1-7E6A-43D3-887C-8ECFC4C89220}" srcOrd="1" destOrd="0" presId="urn:microsoft.com/office/officeart/2005/8/layout/hList7#1"/>
    <dgm:cxn modelId="{44F1F9FE-153D-4235-B360-8815104F180D}" type="presParOf" srcId="{BBCF0ECB-1F17-4285-A377-850EF6F138EC}" destId="{4087D156-AB81-46ED-A5E6-A9A02EFF3A8B}" srcOrd="2" destOrd="0" presId="urn:microsoft.com/office/officeart/2005/8/layout/hList7#1"/>
    <dgm:cxn modelId="{DAE84739-2238-4C90-8C78-42D2BB14F14C}" type="presParOf" srcId="{BBCF0ECB-1F17-4285-A377-850EF6F138EC}" destId="{000099B1-7C95-421D-8D7F-EEE8726C3DB4}" srcOrd="3" destOrd="0" presId="urn:microsoft.com/office/officeart/2005/8/layout/hList7#1"/>
    <dgm:cxn modelId="{205FD3BD-9AE3-4367-BEE3-1F6181C2628D}" type="presParOf" srcId="{3F4F332B-8B34-4FB9-81E3-33EA0318E995}" destId="{76C83E00-4E3D-46AF-B456-5CE29C4165BD}" srcOrd="5" destOrd="0" presId="urn:microsoft.com/office/officeart/2005/8/layout/hList7#1"/>
    <dgm:cxn modelId="{66045D53-AFF2-4FD4-8ECE-820617B087A4}" type="presParOf" srcId="{3F4F332B-8B34-4FB9-81E3-33EA0318E995}" destId="{AF0784C2-C70F-4B04-9A2E-08CE79EE29CC}" srcOrd="6" destOrd="0" presId="urn:microsoft.com/office/officeart/2005/8/layout/hList7#1"/>
    <dgm:cxn modelId="{AEC6275F-BE2F-4786-9F55-2741885A19EF}" type="presParOf" srcId="{AF0784C2-C70F-4B04-9A2E-08CE79EE29CC}" destId="{CE7EEFA5-9EB7-4C28-93D5-0B1234852D73}" srcOrd="0" destOrd="0" presId="urn:microsoft.com/office/officeart/2005/8/layout/hList7#1"/>
    <dgm:cxn modelId="{0ABEDE23-CE9D-4FED-8650-8F8A954F6185}" type="presParOf" srcId="{AF0784C2-C70F-4B04-9A2E-08CE79EE29CC}" destId="{0B11B305-BB2B-41D9-B58B-2D8F9BB296D9}" srcOrd="1" destOrd="0" presId="urn:microsoft.com/office/officeart/2005/8/layout/hList7#1"/>
    <dgm:cxn modelId="{FC209117-D042-4334-BE4C-B12A38FB7C6F}" type="presParOf" srcId="{AF0784C2-C70F-4B04-9A2E-08CE79EE29CC}" destId="{EF6AE962-A930-43EF-A9A0-26C21E96957F}" srcOrd="2" destOrd="0" presId="urn:microsoft.com/office/officeart/2005/8/layout/hList7#1"/>
    <dgm:cxn modelId="{F0AC7145-E600-4BB6-874A-EDD62438F1EA}" type="presParOf" srcId="{AF0784C2-C70F-4B04-9A2E-08CE79EE29CC}" destId="{E98B51E9-B199-4F70-A8D4-E4A6F1B3106D}" srcOrd="3" destOrd="0" presId="urn:microsoft.com/office/officeart/2005/8/layout/hList7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16619B0-1E3D-472F-B0E1-0C922F92C0D8}" type="doc">
      <dgm:prSet loTypeId="urn:microsoft.com/office/officeart/2011/layout/RadialPictureList#2" loCatId="picture" qsTypeId="urn:microsoft.com/office/officeart/2005/8/quickstyle/simple4" qsCatId="simple" csTypeId="urn:microsoft.com/office/officeart/2005/8/colors/accent6_2" csCatId="accent6" phldr="1"/>
      <dgm:spPr/>
      <dgm:t>
        <a:bodyPr/>
        <a:lstStyle/>
        <a:p>
          <a:endParaRPr lang="en-GB"/>
        </a:p>
      </dgm:t>
    </dgm:pt>
    <dgm:pt modelId="{35B5981A-C0D0-4D92-8C3E-B7D9DCEA8B1F}">
      <dgm:prSet custT="1"/>
      <dgm:spPr/>
      <dgm:t>
        <a:bodyPr/>
        <a:lstStyle/>
        <a:p>
          <a:pPr rtl="0"/>
          <a:r>
            <a:rPr lang="en-GB" sz="1800" b="0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rPr>
            <a:t>Core skills are kept internally. Key knowledge about projects is maintained secured within the team, avoiding vendor locking.</a:t>
          </a:r>
          <a:endParaRPr lang="en-GB" sz="1800" b="0" dirty="0">
            <a:solidFill>
              <a:schemeClr val="accent6"/>
            </a:solidFill>
            <a:latin typeface="Calibri" pitchFamily="34" charset="0"/>
            <a:cs typeface="Calibri" pitchFamily="34" charset="0"/>
          </a:endParaRPr>
        </a:p>
      </dgm:t>
    </dgm:pt>
    <dgm:pt modelId="{52ED7F34-65B3-49EF-99C8-E9689336316C}" type="parTrans" cxnId="{EAE75D8A-3C22-4E38-8298-C94C2D7F2790}">
      <dgm:prSet/>
      <dgm:spPr/>
      <dgm:t>
        <a:bodyPr/>
        <a:lstStyle/>
        <a:p>
          <a:endParaRPr lang="en-GB">
            <a:latin typeface="Calibri" pitchFamily="34" charset="0"/>
            <a:cs typeface="Calibri" pitchFamily="34" charset="0"/>
          </a:endParaRPr>
        </a:p>
      </dgm:t>
    </dgm:pt>
    <dgm:pt modelId="{AC14277F-61E3-465D-B5A0-D1517189EA2B}" type="sibTrans" cxnId="{EAE75D8A-3C22-4E38-8298-C94C2D7F2790}">
      <dgm:prSet/>
      <dgm:spPr/>
      <dgm:t>
        <a:bodyPr/>
        <a:lstStyle/>
        <a:p>
          <a:endParaRPr lang="en-GB">
            <a:latin typeface="Calibri" pitchFamily="34" charset="0"/>
            <a:cs typeface="Calibri" pitchFamily="34" charset="0"/>
          </a:endParaRPr>
        </a:p>
      </dgm:t>
    </dgm:pt>
    <dgm:pt modelId="{86590957-6A25-4508-BF08-38EF5314E852}">
      <dgm:prSet custT="1"/>
      <dgm:spPr/>
      <dgm:t>
        <a:bodyPr/>
        <a:lstStyle/>
        <a:p>
          <a:pPr rtl="0"/>
          <a:r>
            <a:rPr lang="en-GB" sz="1800" b="0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rPr>
            <a:t>Minimum</a:t>
          </a:r>
          <a:r>
            <a:rPr lang="en-GB" sz="1800" b="0" baseline="0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rPr>
            <a:t> number of internal FTE, allowing for a sustainable team under low workload conditions.</a:t>
          </a:r>
          <a:endParaRPr lang="en-GB" sz="1800" b="0" dirty="0">
            <a:solidFill>
              <a:schemeClr val="accent6"/>
            </a:solidFill>
            <a:latin typeface="Calibri" pitchFamily="34" charset="0"/>
            <a:cs typeface="Calibri" pitchFamily="34" charset="0"/>
          </a:endParaRPr>
        </a:p>
      </dgm:t>
    </dgm:pt>
    <dgm:pt modelId="{C299DA7E-27F3-4FBA-A0B0-B495BFE1733D}" type="parTrans" cxnId="{C5339E6D-29B7-4BBB-AB8E-31878BB5BB05}">
      <dgm:prSet/>
      <dgm:spPr/>
      <dgm:t>
        <a:bodyPr/>
        <a:lstStyle/>
        <a:p>
          <a:endParaRPr lang="en-GB">
            <a:latin typeface="Calibri" pitchFamily="34" charset="0"/>
            <a:cs typeface="Calibri" pitchFamily="34" charset="0"/>
          </a:endParaRPr>
        </a:p>
      </dgm:t>
    </dgm:pt>
    <dgm:pt modelId="{4C4CF13D-D257-40A9-AB5D-8FCA2F358516}" type="sibTrans" cxnId="{C5339E6D-29B7-4BBB-AB8E-31878BB5BB05}">
      <dgm:prSet/>
      <dgm:spPr/>
      <dgm:t>
        <a:bodyPr/>
        <a:lstStyle/>
        <a:p>
          <a:endParaRPr lang="en-GB">
            <a:latin typeface="Calibri" pitchFamily="34" charset="0"/>
            <a:cs typeface="Calibri" pitchFamily="34" charset="0"/>
          </a:endParaRPr>
        </a:p>
      </dgm:t>
    </dgm:pt>
    <dgm:pt modelId="{303062C4-FDE8-4F34-92EE-6CB289807530}">
      <dgm:prSet custT="1"/>
      <dgm:spPr/>
      <dgm:t>
        <a:bodyPr/>
        <a:lstStyle/>
        <a:p>
          <a:pPr rtl="0"/>
          <a:r>
            <a:rPr lang="en-GB" sz="1800" b="0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rPr>
            <a:t>International team with internal members located in several countries across Europe.</a:t>
          </a:r>
          <a:endParaRPr lang="en-GB" sz="1800" b="0" dirty="0">
            <a:solidFill>
              <a:schemeClr val="accent6"/>
            </a:solidFill>
            <a:latin typeface="Calibri" pitchFamily="34" charset="0"/>
            <a:cs typeface="Calibri" pitchFamily="34" charset="0"/>
          </a:endParaRPr>
        </a:p>
      </dgm:t>
    </dgm:pt>
    <dgm:pt modelId="{8E5FA746-4377-48F6-95CB-0E682F8BBB10}" type="parTrans" cxnId="{556FBA12-41D8-4463-83BF-80E167134199}">
      <dgm:prSet/>
      <dgm:spPr/>
      <dgm:t>
        <a:bodyPr/>
        <a:lstStyle/>
        <a:p>
          <a:endParaRPr lang="en-GB">
            <a:latin typeface="Calibri" pitchFamily="34" charset="0"/>
            <a:cs typeface="Calibri" pitchFamily="34" charset="0"/>
          </a:endParaRPr>
        </a:p>
      </dgm:t>
    </dgm:pt>
    <dgm:pt modelId="{CD7484A5-09BF-4B59-BE73-D3B7132DD79D}" type="sibTrans" cxnId="{556FBA12-41D8-4463-83BF-80E167134199}">
      <dgm:prSet/>
      <dgm:spPr/>
      <dgm:t>
        <a:bodyPr/>
        <a:lstStyle/>
        <a:p>
          <a:endParaRPr lang="en-GB">
            <a:latin typeface="Calibri" pitchFamily="34" charset="0"/>
            <a:cs typeface="Calibri" pitchFamily="34" charset="0"/>
          </a:endParaRPr>
        </a:p>
      </dgm:t>
    </dgm:pt>
    <dgm:pt modelId="{66BAA64E-9107-476A-AEB8-C496A163CC39}">
      <dgm:prSet custT="1"/>
      <dgm:spPr/>
      <dgm:t>
        <a:bodyPr/>
        <a:lstStyle/>
        <a:p>
          <a:pPr rtl="0"/>
          <a:r>
            <a:rPr lang="en-GB" sz="1800" b="0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rPr>
            <a:t>Variable workload managed through a flexible pool of resources from local selected Spanish partners with past experience in Alliance Boots projects.</a:t>
          </a:r>
          <a:endParaRPr lang="en-GB" sz="1800" b="0" dirty="0">
            <a:solidFill>
              <a:schemeClr val="accent6"/>
            </a:solidFill>
            <a:latin typeface="Calibri" pitchFamily="34" charset="0"/>
            <a:cs typeface="Calibri" pitchFamily="34" charset="0"/>
          </a:endParaRPr>
        </a:p>
      </dgm:t>
    </dgm:pt>
    <dgm:pt modelId="{E0FCB15B-15F4-482D-9443-AA8CD3F047BF}" type="parTrans" cxnId="{ECFB5B92-E32D-456B-926D-C5FBE96242C5}">
      <dgm:prSet/>
      <dgm:spPr/>
      <dgm:t>
        <a:bodyPr/>
        <a:lstStyle/>
        <a:p>
          <a:endParaRPr lang="en-GB">
            <a:latin typeface="Calibri" pitchFamily="34" charset="0"/>
            <a:cs typeface="Calibri" pitchFamily="34" charset="0"/>
          </a:endParaRPr>
        </a:p>
      </dgm:t>
    </dgm:pt>
    <dgm:pt modelId="{EBC91E47-2011-48A3-83B3-94D869EB8452}" type="sibTrans" cxnId="{ECFB5B92-E32D-456B-926D-C5FBE96242C5}">
      <dgm:prSet/>
      <dgm:spPr/>
      <dgm:t>
        <a:bodyPr/>
        <a:lstStyle/>
        <a:p>
          <a:endParaRPr lang="en-GB">
            <a:latin typeface="Calibri" pitchFamily="34" charset="0"/>
            <a:cs typeface="Calibri" pitchFamily="34" charset="0"/>
          </a:endParaRPr>
        </a:p>
      </dgm:t>
    </dgm:pt>
    <dgm:pt modelId="{772EEC17-F9C8-4F58-B4FB-595607F2F80F}">
      <dgm:prSet/>
      <dgm:spPr/>
      <dgm:t>
        <a:bodyPr/>
        <a:lstStyle/>
        <a:p>
          <a:endParaRPr lang="en-GB" dirty="0"/>
        </a:p>
      </dgm:t>
    </dgm:pt>
    <dgm:pt modelId="{640784C1-410A-46D1-8CF5-9A44D64E0143}" type="parTrans" cxnId="{82870A9B-9A86-4753-A5D8-79A62EF78E06}">
      <dgm:prSet/>
      <dgm:spPr/>
      <dgm:t>
        <a:bodyPr/>
        <a:lstStyle/>
        <a:p>
          <a:endParaRPr lang="en-GB">
            <a:latin typeface="Calibri" pitchFamily="34" charset="0"/>
            <a:cs typeface="Calibri" pitchFamily="34" charset="0"/>
          </a:endParaRPr>
        </a:p>
      </dgm:t>
    </dgm:pt>
    <dgm:pt modelId="{87FD6079-FDAD-4F3B-936F-5AAC6660650B}" type="sibTrans" cxnId="{82870A9B-9A86-4753-A5D8-79A62EF78E06}">
      <dgm:prSet/>
      <dgm:spPr/>
      <dgm:t>
        <a:bodyPr/>
        <a:lstStyle/>
        <a:p>
          <a:endParaRPr lang="en-GB">
            <a:latin typeface="Calibri" pitchFamily="34" charset="0"/>
            <a:cs typeface="Calibri" pitchFamily="34" charset="0"/>
          </a:endParaRPr>
        </a:p>
      </dgm:t>
    </dgm:pt>
    <dgm:pt modelId="{328BB513-B494-4F3E-B5A3-3A0A3B562595}">
      <dgm:prSet/>
      <dgm:spPr>
        <a:blipFill rotWithShape="0">
          <a:blip xmlns:r="http://schemas.openxmlformats.org/officeDocument/2006/relationships" r:embed="rId1">
            <a:duotone>
              <a:schemeClr val="accent3">
                <a:shade val="45000"/>
                <a:satMod val="135000"/>
              </a:schemeClr>
              <a:prstClr val="white"/>
            </a:duotone>
            <a:extLst/>
          </a:blip>
          <a:stretch>
            <a:fillRect/>
          </a:stretch>
        </a:blip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rtl="0"/>
          <a:r>
            <a:rPr lang="en-GB" b="1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rPr>
            <a:t>Strategic principles of the resource model</a:t>
          </a:r>
          <a:endParaRPr lang="en-GB" dirty="0">
            <a:solidFill>
              <a:schemeClr val="accent6"/>
            </a:solidFill>
            <a:latin typeface="Calibri" pitchFamily="34" charset="0"/>
            <a:cs typeface="Calibri" pitchFamily="34" charset="0"/>
          </a:endParaRPr>
        </a:p>
      </dgm:t>
    </dgm:pt>
    <dgm:pt modelId="{9A3EAD0A-5A18-4CE1-A31C-FBBEE41C4204}" type="parTrans" cxnId="{770264B4-3023-411A-B03B-EA19A331E0FC}">
      <dgm:prSet/>
      <dgm:spPr/>
      <dgm:t>
        <a:bodyPr/>
        <a:lstStyle/>
        <a:p>
          <a:endParaRPr lang="en-GB">
            <a:latin typeface="Calibri" pitchFamily="34" charset="0"/>
            <a:cs typeface="Calibri" pitchFamily="34" charset="0"/>
          </a:endParaRPr>
        </a:p>
      </dgm:t>
    </dgm:pt>
    <dgm:pt modelId="{CF73D6FE-FF52-42D8-A5FE-3147DB03A1A3}" type="sibTrans" cxnId="{770264B4-3023-411A-B03B-EA19A331E0FC}">
      <dgm:prSet/>
      <dgm:spPr/>
      <dgm:t>
        <a:bodyPr/>
        <a:lstStyle/>
        <a:p>
          <a:endParaRPr lang="en-GB">
            <a:latin typeface="Calibri" pitchFamily="34" charset="0"/>
            <a:cs typeface="Calibri" pitchFamily="34" charset="0"/>
          </a:endParaRPr>
        </a:p>
      </dgm:t>
    </dgm:pt>
    <dgm:pt modelId="{7872EEE0-14F1-441A-A717-C2DBB6E5909B}" type="pres">
      <dgm:prSet presAssocID="{A16619B0-1E3D-472F-B0E1-0C922F92C0D8}" presName="Name0" presStyleCnt="0">
        <dgm:presLayoutVars>
          <dgm:chMax val="1"/>
          <dgm:chPref val="1"/>
          <dgm:dir/>
          <dgm:resizeHandles/>
        </dgm:presLayoutVars>
      </dgm:prSet>
      <dgm:spPr/>
      <dgm:t>
        <a:bodyPr/>
        <a:lstStyle/>
        <a:p>
          <a:endParaRPr lang="en-GB"/>
        </a:p>
      </dgm:t>
    </dgm:pt>
    <dgm:pt modelId="{0D3FB84B-4D10-4308-8D9E-83979A3C788A}" type="pres">
      <dgm:prSet presAssocID="{328BB513-B494-4F3E-B5A3-3A0A3B562595}" presName="Parent" presStyleLbl="node1" presStyleIdx="0" presStyleCnt="2" custLinFactX="-4176" custLinFactNeighborX="-100000">
        <dgm:presLayoutVars>
          <dgm:chMax val="4"/>
          <dgm:chPref val="3"/>
        </dgm:presLayoutVars>
      </dgm:prSet>
      <dgm:spPr/>
      <dgm:t>
        <a:bodyPr/>
        <a:lstStyle/>
        <a:p>
          <a:endParaRPr lang="en-GB"/>
        </a:p>
      </dgm:t>
    </dgm:pt>
    <dgm:pt modelId="{BA99CE67-B8E5-489D-A6BA-5561B71C9221}" type="pres">
      <dgm:prSet presAssocID="{35B5981A-C0D0-4D92-8C3E-B7D9DCEA8B1F}" presName="Accent" presStyleLbl="node1" presStyleIdx="1" presStyleCnt="2" custLinFactNeighborX="-39894"/>
      <dgm:spPr/>
    </dgm:pt>
    <dgm:pt modelId="{0F046CB5-1DB1-44C4-B48B-DCE58A297BC6}" type="pres">
      <dgm:prSet presAssocID="{35B5981A-C0D0-4D92-8C3E-B7D9DCEA8B1F}" presName="Image1" presStyleLbl="fgImgPlace1" presStyleIdx="0" presStyleCnt="4" custLinFactX="-50059" custLinFactNeighborX="-100000"/>
      <dgm:spPr>
        <a:blipFill>
          <a:blip xmlns:r="http://schemas.openxmlformats.org/officeDocument/2006/relationships" r:embed="rId2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 l="-20000" r="-20000"/>
          </a:stretch>
        </a:blipFill>
        <a:scene3d>
          <a:camera prst="orthographicFront"/>
          <a:lightRig rig="threePt" dir="t"/>
        </a:scene3d>
        <a:sp3d>
          <a:bevelT w="165100" prst="coolSlant"/>
        </a:sp3d>
      </dgm:spPr>
      <dgm:t>
        <a:bodyPr/>
        <a:lstStyle/>
        <a:p>
          <a:endParaRPr lang="en-GB"/>
        </a:p>
      </dgm:t>
    </dgm:pt>
    <dgm:pt modelId="{29EA0C61-C56A-44D2-BC56-8977955501BC}" type="pres">
      <dgm:prSet presAssocID="{35B5981A-C0D0-4D92-8C3E-B7D9DCEA8B1F}" presName="Child1" presStyleLbl="revTx" presStyleIdx="0" presStyleCnt="4" custScaleX="335425" custLinFactNeighborX="2018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7F4170A-0702-478C-8F61-A5604E544FDC}" type="pres">
      <dgm:prSet presAssocID="{86590957-6A25-4508-BF08-38EF5314E852}" presName="Image2" presStyleCnt="0"/>
      <dgm:spPr/>
    </dgm:pt>
    <dgm:pt modelId="{260FCC27-F99A-443F-85B1-A0E7B1A48C47}" type="pres">
      <dgm:prSet presAssocID="{86590957-6A25-4508-BF08-38EF5314E852}" presName="Image" presStyleLbl="fgImgPlace1" presStyleIdx="1" presStyleCnt="4" custLinFactX="-50059" custLinFactNeighborX="-100000"/>
      <dgm:spPr>
        <a:blipFill>
          <a:blip xmlns:r="http://schemas.openxmlformats.org/officeDocument/2006/relationships" r:embed="rId3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 t="-15000" b="-15000"/>
          </a:stretch>
        </a:blipFill>
        <a:scene3d>
          <a:camera prst="orthographicFront"/>
          <a:lightRig rig="threePt" dir="t"/>
        </a:scene3d>
        <a:sp3d>
          <a:bevelT w="165100" prst="coolSlant"/>
        </a:sp3d>
      </dgm:spPr>
      <dgm:t>
        <a:bodyPr/>
        <a:lstStyle/>
        <a:p>
          <a:endParaRPr lang="en-GB"/>
        </a:p>
      </dgm:t>
    </dgm:pt>
    <dgm:pt modelId="{D87CA066-E4A2-49EE-95B1-5477A3C540D0}" type="pres">
      <dgm:prSet presAssocID="{86590957-6A25-4508-BF08-38EF5314E852}" presName="Child2" presStyleLbl="revTx" presStyleIdx="1" presStyleCnt="4" custScaleX="335425" custLinFactNeighborX="1011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D040A65-36B0-48B1-BF74-6B4B34A9B084}" type="pres">
      <dgm:prSet presAssocID="{303062C4-FDE8-4F34-92EE-6CB289807530}" presName="Image3" presStyleCnt="0"/>
      <dgm:spPr/>
    </dgm:pt>
    <dgm:pt modelId="{76969261-9396-4C50-97F5-EF9102D9D222}" type="pres">
      <dgm:prSet presAssocID="{303062C4-FDE8-4F34-92EE-6CB289807530}" presName="Image" presStyleLbl="fgImgPlace1" presStyleIdx="2" presStyleCnt="4" custLinFactX="-50059" custLinFactNeighborX="-100000"/>
      <dgm:spPr>
        <a:blipFill>
          <a:blip xmlns:r="http://schemas.openxmlformats.org/officeDocument/2006/relationships"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5000" r="-35000"/>
          </a:stretch>
        </a:blipFill>
        <a:scene3d>
          <a:camera prst="orthographicFront"/>
          <a:lightRig rig="threePt" dir="t"/>
        </a:scene3d>
        <a:sp3d>
          <a:bevelT w="165100" prst="coolSlant"/>
        </a:sp3d>
      </dgm:spPr>
      <dgm:t>
        <a:bodyPr/>
        <a:lstStyle/>
        <a:p>
          <a:endParaRPr lang="en-GB"/>
        </a:p>
      </dgm:t>
    </dgm:pt>
    <dgm:pt modelId="{0FA2D976-D0A8-4F8E-BBE3-021002734E78}" type="pres">
      <dgm:prSet presAssocID="{303062C4-FDE8-4F34-92EE-6CB289807530}" presName="Child3" presStyleLbl="revTx" presStyleIdx="2" presStyleCnt="4" custScaleX="335425" custLinFactNeighborX="1011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6CC3DE9-B492-47C6-928D-84F85A658F2B}" type="pres">
      <dgm:prSet presAssocID="{66BAA64E-9107-476A-AEB8-C496A163CC39}" presName="Image4" presStyleCnt="0"/>
      <dgm:spPr/>
    </dgm:pt>
    <dgm:pt modelId="{881ADFD4-51AC-4FFB-814F-8CF6704D198E}" type="pres">
      <dgm:prSet presAssocID="{66BAA64E-9107-476A-AEB8-C496A163CC39}" presName="Image" presStyleLbl="fgImgPlace1" presStyleIdx="3" presStyleCnt="4" custLinFactX="-50059" custLinFactNeighborX="-100000"/>
      <dgm:spPr>
        <a:blipFill>
          <a:blip xmlns:r="http://schemas.openxmlformats.org/officeDocument/2006/relationships" r:embed="rId5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 l="-26000" r="-26000"/>
          </a:stretch>
        </a:blipFill>
        <a:scene3d>
          <a:camera prst="orthographicFront"/>
          <a:lightRig rig="threePt" dir="t"/>
        </a:scene3d>
        <a:sp3d>
          <a:bevelT w="165100" prst="coolSlant"/>
        </a:sp3d>
      </dgm:spPr>
      <dgm:t>
        <a:bodyPr/>
        <a:lstStyle/>
        <a:p>
          <a:endParaRPr lang="en-GB"/>
        </a:p>
      </dgm:t>
    </dgm:pt>
    <dgm:pt modelId="{32FECBA8-6F4E-4368-B3A2-19BC7161B2A5}" type="pres">
      <dgm:prSet presAssocID="{66BAA64E-9107-476A-AEB8-C496A163CC39}" presName="Child4" presStyleLbl="revTx" presStyleIdx="3" presStyleCnt="4" custScaleX="335425" custLinFactNeighborX="2018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F7BA6743-CEE0-48EC-9DD2-78E1ABB2923D}" type="presOf" srcId="{328BB513-B494-4F3E-B5A3-3A0A3B562595}" destId="{0D3FB84B-4D10-4308-8D9E-83979A3C788A}" srcOrd="0" destOrd="0" presId="urn:microsoft.com/office/officeart/2011/layout/RadialPictureList#2"/>
    <dgm:cxn modelId="{5AAF5E5A-DCDC-41DB-A479-5BEAE0F7498E}" type="presOf" srcId="{66BAA64E-9107-476A-AEB8-C496A163CC39}" destId="{32FECBA8-6F4E-4368-B3A2-19BC7161B2A5}" srcOrd="0" destOrd="0" presId="urn:microsoft.com/office/officeart/2011/layout/RadialPictureList#2"/>
    <dgm:cxn modelId="{C5339E6D-29B7-4BBB-AB8E-31878BB5BB05}" srcId="{328BB513-B494-4F3E-B5A3-3A0A3B562595}" destId="{86590957-6A25-4508-BF08-38EF5314E852}" srcOrd="1" destOrd="0" parTransId="{C299DA7E-27F3-4FBA-A0B0-B495BFE1733D}" sibTransId="{4C4CF13D-D257-40A9-AB5D-8FCA2F358516}"/>
    <dgm:cxn modelId="{556FBA12-41D8-4463-83BF-80E167134199}" srcId="{328BB513-B494-4F3E-B5A3-3A0A3B562595}" destId="{303062C4-FDE8-4F34-92EE-6CB289807530}" srcOrd="2" destOrd="0" parTransId="{8E5FA746-4377-48F6-95CB-0E682F8BBB10}" sibTransId="{CD7484A5-09BF-4B59-BE73-D3B7132DD79D}"/>
    <dgm:cxn modelId="{0861014D-6285-47D3-9303-C8C20A658B23}" type="presOf" srcId="{35B5981A-C0D0-4D92-8C3E-B7D9DCEA8B1F}" destId="{29EA0C61-C56A-44D2-BC56-8977955501BC}" srcOrd="0" destOrd="0" presId="urn:microsoft.com/office/officeart/2011/layout/RadialPictureList#2"/>
    <dgm:cxn modelId="{82870A9B-9A86-4753-A5D8-79A62EF78E06}" srcId="{328BB513-B494-4F3E-B5A3-3A0A3B562595}" destId="{772EEC17-F9C8-4F58-B4FB-595607F2F80F}" srcOrd="4" destOrd="0" parTransId="{640784C1-410A-46D1-8CF5-9A44D64E0143}" sibTransId="{87FD6079-FDAD-4F3B-936F-5AAC6660650B}"/>
    <dgm:cxn modelId="{770264B4-3023-411A-B03B-EA19A331E0FC}" srcId="{A16619B0-1E3D-472F-B0E1-0C922F92C0D8}" destId="{328BB513-B494-4F3E-B5A3-3A0A3B562595}" srcOrd="0" destOrd="0" parTransId="{9A3EAD0A-5A18-4CE1-A31C-FBBEE41C4204}" sibTransId="{CF73D6FE-FF52-42D8-A5FE-3147DB03A1A3}"/>
    <dgm:cxn modelId="{ECFB5B92-E32D-456B-926D-C5FBE96242C5}" srcId="{328BB513-B494-4F3E-B5A3-3A0A3B562595}" destId="{66BAA64E-9107-476A-AEB8-C496A163CC39}" srcOrd="3" destOrd="0" parTransId="{E0FCB15B-15F4-482D-9443-AA8CD3F047BF}" sibTransId="{EBC91E47-2011-48A3-83B3-94D869EB8452}"/>
    <dgm:cxn modelId="{CB75BA5C-AC6E-4D61-8ED6-49E0F200636D}" type="presOf" srcId="{303062C4-FDE8-4F34-92EE-6CB289807530}" destId="{0FA2D976-D0A8-4F8E-BBE3-021002734E78}" srcOrd="0" destOrd="0" presId="urn:microsoft.com/office/officeart/2011/layout/RadialPictureList#2"/>
    <dgm:cxn modelId="{2F29CFB9-29A5-4B8A-BF0C-71D9EEE594E3}" type="presOf" srcId="{86590957-6A25-4508-BF08-38EF5314E852}" destId="{D87CA066-E4A2-49EE-95B1-5477A3C540D0}" srcOrd="0" destOrd="0" presId="urn:microsoft.com/office/officeart/2011/layout/RadialPictureList#2"/>
    <dgm:cxn modelId="{EAE75D8A-3C22-4E38-8298-C94C2D7F2790}" srcId="{328BB513-B494-4F3E-B5A3-3A0A3B562595}" destId="{35B5981A-C0D0-4D92-8C3E-B7D9DCEA8B1F}" srcOrd="0" destOrd="0" parTransId="{52ED7F34-65B3-49EF-99C8-E9689336316C}" sibTransId="{AC14277F-61E3-465D-B5A0-D1517189EA2B}"/>
    <dgm:cxn modelId="{4DEFAC7F-DCE5-4039-989F-4285A0A408E9}" type="presOf" srcId="{A16619B0-1E3D-472F-B0E1-0C922F92C0D8}" destId="{7872EEE0-14F1-441A-A717-C2DBB6E5909B}" srcOrd="0" destOrd="0" presId="urn:microsoft.com/office/officeart/2011/layout/RadialPictureList#2"/>
    <dgm:cxn modelId="{F8E7F385-0461-4FC7-B2D3-4FF24D8F22C5}" type="presParOf" srcId="{7872EEE0-14F1-441A-A717-C2DBB6E5909B}" destId="{0D3FB84B-4D10-4308-8D9E-83979A3C788A}" srcOrd="0" destOrd="0" presId="urn:microsoft.com/office/officeart/2011/layout/RadialPictureList#2"/>
    <dgm:cxn modelId="{07108C0D-1F2F-466F-8803-9FB2B325E721}" type="presParOf" srcId="{7872EEE0-14F1-441A-A717-C2DBB6E5909B}" destId="{BA99CE67-B8E5-489D-A6BA-5561B71C9221}" srcOrd="1" destOrd="0" presId="urn:microsoft.com/office/officeart/2011/layout/RadialPictureList#2"/>
    <dgm:cxn modelId="{57EC38D8-3BC8-4C97-8815-5D6693920C44}" type="presParOf" srcId="{7872EEE0-14F1-441A-A717-C2DBB6E5909B}" destId="{0F046CB5-1DB1-44C4-B48B-DCE58A297BC6}" srcOrd="2" destOrd="0" presId="urn:microsoft.com/office/officeart/2011/layout/RadialPictureList#2"/>
    <dgm:cxn modelId="{52A61E12-5F09-4178-BFBD-BED8C8655DF1}" type="presParOf" srcId="{7872EEE0-14F1-441A-A717-C2DBB6E5909B}" destId="{29EA0C61-C56A-44D2-BC56-8977955501BC}" srcOrd="3" destOrd="0" presId="urn:microsoft.com/office/officeart/2011/layout/RadialPictureList#2"/>
    <dgm:cxn modelId="{5EDF538D-088C-4CD8-9442-73444B5B889F}" type="presParOf" srcId="{7872EEE0-14F1-441A-A717-C2DBB6E5909B}" destId="{07F4170A-0702-478C-8F61-A5604E544FDC}" srcOrd="4" destOrd="0" presId="urn:microsoft.com/office/officeart/2011/layout/RadialPictureList#2"/>
    <dgm:cxn modelId="{ACDCC57E-C976-4E31-8659-26C9A72C532B}" type="presParOf" srcId="{07F4170A-0702-478C-8F61-A5604E544FDC}" destId="{260FCC27-F99A-443F-85B1-A0E7B1A48C47}" srcOrd="0" destOrd="0" presId="urn:microsoft.com/office/officeart/2011/layout/RadialPictureList#2"/>
    <dgm:cxn modelId="{4EC5D12C-7FDB-47A5-BCC0-BCACA066D061}" type="presParOf" srcId="{7872EEE0-14F1-441A-A717-C2DBB6E5909B}" destId="{D87CA066-E4A2-49EE-95B1-5477A3C540D0}" srcOrd="5" destOrd="0" presId="urn:microsoft.com/office/officeart/2011/layout/RadialPictureList#2"/>
    <dgm:cxn modelId="{66637D7B-F630-4354-B700-1C5D9116B4CD}" type="presParOf" srcId="{7872EEE0-14F1-441A-A717-C2DBB6E5909B}" destId="{3D040A65-36B0-48B1-BF74-6B4B34A9B084}" srcOrd="6" destOrd="0" presId="urn:microsoft.com/office/officeart/2011/layout/RadialPictureList#2"/>
    <dgm:cxn modelId="{E626E1F0-F74F-4B3B-B8A4-F9D116AF28DF}" type="presParOf" srcId="{3D040A65-36B0-48B1-BF74-6B4B34A9B084}" destId="{76969261-9396-4C50-97F5-EF9102D9D222}" srcOrd="0" destOrd="0" presId="urn:microsoft.com/office/officeart/2011/layout/RadialPictureList#2"/>
    <dgm:cxn modelId="{BA2CD1E6-FBAB-442D-A760-F57C064C2865}" type="presParOf" srcId="{7872EEE0-14F1-441A-A717-C2DBB6E5909B}" destId="{0FA2D976-D0A8-4F8E-BBE3-021002734E78}" srcOrd="7" destOrd="0" presId="urn:microsoft.com/office/officeart/2011/layout/RadialPictureList#2"/>
    <dgm:cxn modelId="{A3230E9A-C431-4CDC-845D-580B3C3DD0EF}" type="presParOf" srcId="{7872EEE0-14F1-441A-A717-C2DBB6E5909B}" destId="{56CC3DE9-B492-47C6-928D-84F85A658F2B}" srcOrd="8" destOrd="0" presId="urn:microsoft.com/office/officeart/2011/layout/RadialPictureList#2"/>
    <dgm:cxn modelId="{69691249-AB2D-4A2B-A747-76DE08F5D0B0}" type="presParOf" srcId="{56CC3DE9-B492-47C6-928D-84F85A658F2B}" destId="{881ADFD4-51AC-4FFB-814F-8CF6704D198E}" srcOrd="0" destOrd="0" presId="urn:microsoft.com/office/officeart/2011/layout/RadialPictureList#2"/>
    <dgm:cxn modelId="{C989D66B-7C4A-4BFB-8FC3-958E8887258D}" type="presParOf" srcId="{7872EEE0-14F1-441A-A717-C2DBB6E5909B}" destId="{32FECBA8-6F4E-4368-B3A2-19BC7161B2A5}" srcOrd="9" destOrd="0" presId="urn:microsoft.com/office/officeart/2011/layout/RadialPictureList#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98968B-D2D6-4AE4-A42E-4AEAA33EEFBA}">
      <dsp:nvSpPr>
        <dsp:cNvPr id="0" name=""/>
        <dsp:cNvSpPr/>
      </dsp:nvSpPr>
      <dsp:spPr>
        <a:xfrm>
          <a:off x="1892" y="0"/>
          <a:ext cx="1983904" cy="5544000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perspectiveRelaxedModerately"/>
          <a:lightRig rig="twoPt" dir="t"/>
        </a:scene3d>
        <a:sp3d>
          <a:bevelT h="63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kern="1200" dirty="0" err="1" smtClean="0">
              <a:latin typeface="Calibri" pitchFamily="34" charset="0"/>
              <a:cs typeface="Calibri" pitchFamily="34" charset="0"/>
            </a:rPr>
            <a:t>Integration</a:t>
          </a:r>
          <a:endParaRPr lang="es-ES" sz="2400" kern="1200" dirty="0" smtClean="0">
            <a:latin typeface="Calibri" pitchFamily="34" charset="0"/>
            <a:cs typeface="Calibri" pitchFamily="34" charset="0"/>
          </a:endParaRP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smtClean="0">
              <a:latin typeface="Calibri" pitchFamily="34" charset="0"/>
              <a:cs typeface="Calibri" pitchFamily="34" charset="0"/>
            </a:rPr>
            <a:t>Software AG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err="1" smtClean="0">
              <a:latin typeface="Calibri" pitchFamily="34" charset="0"/>
              <a:cs typeface="Calibri" pitchFamily="34" charset="0"/>
            </a:rPr>
            <a:t>TalenD</a:t>
          </a:r>
          <a:r>
            <a:rPr lang="es-ES" sz="1600" kern="1200" dirty="0" smtClean="0">
              <a:latin typeface="Calibri" pitchFamily="34" charset="0"/>
              <a:cs typeface="Calibri" pitchFamily="34" charset="0"/>
            </a:rPr>
            <a:t> (</a:t>
          </a:r>
          <a:r>
            <a:rPr lang="es-ES" sz="1600" kern="1200" dirty="0" err="1" smtClean="0">
              <a:latin typeface="Calibri" pitchFamily="34" charset="0"/>
              <a:cs typeface="Calibri" pitchFamily="34" charset="0"/>
            </a:rPr>
            <a:t>legacy</a:t>
          </a:r>
          <a:r>
            <a:rPr lang="es-ES" sz="1600" kern="1200" dirty="0" smtClean="0">
              <a:latin typeface="Calibri" pitchFamily="34" charset="0"/>
              <a:cs typeface="Calibri" pitchFamily="34" charset="0"/>
            </a:rPr>
            <a:t>)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err="1" smtClean="0">
              <a:latin typeface="Calibri" pitchFamily="34" charset="0"/>
              <a:cs typeface="Calibri" pitchFamily="34" charset="0"/>
            </a:rPr>
            <a:t>Datastage</a:t>
          </a:r>
          <a:r>
            <a:rPr lang="es-ES" sz="1600" kern="1200" dirty="0" smtClean="0">
              <a:latin typeface="Calibri" pitchFamily="34" charset="0"/>
              <a:cs typeface="Calibri" pitchFamily="34" charset="0"/>
            </a:rPr>
            <a:t> (</a:t>
          </a:r>
          <a:r>
            <a:rPr lang="es-ES" sz="1600" kern="1200" dirty="0" err="1" smtClean="0">
              <a:latin typeface="Calibri" pitchFamily="34" charset="0"/>
              <a:cs typeface="Calibri" pitchFamily="34" charset="0"/>
            </a:rPr>
            <a:t>legacy</a:t>
          </a:r>
          <a:r>
            <a:rPr lang="es-ES" sz="1600" kern="1200" dirty="0" smtClean="0">
              <a:latin typeface="Calibri" pitchFamily="34" charset="0"/>
              <a:cs typeface="Calibri" pitchFamily="34" charset="0"/>
            </a:rPr>
            <a:t>)</a:t>
          </a:r>
        </a:p>
      </dsp:txBody>
      <dsp:txXfrm>
        <a:off x="1892" y="2217600"/>
        <a:ext cx="1983904" cy="2217600"/>
      </dsp:txXfrm>
    </dsp:sp>
    <dsp:sp modelId="{0B7306F6-5101-4403-B564-BDA18C28D79B}">
      <dsp:nvSpPr>
        <dsp:cNvPr id="0" name=""/>
        <dsp:cNvSpPr/>
      </dsp:nvSpPr>
      <dsp:spPr>
        <a:xfrm>
          <a:off x="298150" y="186913"/>
          <a:ext cx="1452866" cy="1452866"/>
        </a:xfrm>
        <a:prstGeom prst="ellipse">
          <a:avLst/>
        </a:prstGeom>
        <a:blipFill rotWithShape="0">
          <a:blip xmlns:r="http://schemas.openxmlformats.org/officeDocument/2006/relationships" r:embed="rId1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perspectiveRelaxedModerately"/>
          <a:lightRig rig="twoPt" dir="t"/>
        </a:scene3d>
        <a:sp3d prstMaterial="flat">
          <a:bevelT w="0" h="1016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C194DDD-D765-4389-BFA4-A0EEC008D2BE}">
      <dsp:nvSpPr>
        <dsp:cNvPr id="0" name=""/>
        <dsp:cNvSpPr/>
      </dsp:nvSpPr>
      <dsp:spPr>
        <a:xfrm>
          <a:off x="2045314" y="0"/>
          <a:ext cx="1983904" cy="5544000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247499"/>
            <a:satOff val="-15026"/>
            <a:lumOff val="1201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perspectiveRelaxedModerately"/>
          <a:lightRig rig="twoPt" dir="t"/>
        </a:scene3d>
        <a:sp3d>
          <a:bevelT h="63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kern="1200" dirty="0" smtClean="0">
              <a:latin typeface="Calibri" pitchFamily="34" charset="0"/>
              <a:cs typeface="Calibri" pitchFamily="34" charset="0"/>
            </a:rPr>
            <a:t>Web / </a:t>
          </a:r>
          <a:r>
            <a:rPr lang="es-ES" sz="2400" kern="1200" dirty="0" err="1" smtClean="0">
              <a:latin typeface="Calibri" pitchFamily="34" charset="0"/>
              <a:cs typeface="Calibri" pitchFamily="34" charset="0"/>
            </a:rPr>
            <a:t>eCommerce</a:t>
          </a:r>
          <a:endParaRPr lang="es-ES" sz="2400" kern="1200" dirty="0" smtClean="0">
            <a:latin typeface="Calibri" pitchFamily="34" charset="0"/>
            <a:cs typeface="Calibri" pitchFamily="34" charset="0"/>
          </a:endParaRP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smtClean="0">
              <a:latin typeface="Calibri" pitchFamily="34" charset="0"/>
              <a:cs typeface="Calibri" pitchFamily="34" charset="0"/>
            </a:rPr>
            <a:t>J2EE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err="1" smtClean="0">
              <a:latin typeface="Calibri" pitchFamily="34" charset="0"/>
              <a:cs typeface="Calibri" pitchFamily="34" charset="0"/>
            </a:rPr>
            <a:t>Liferay</a:t>
          </a:r>
          <a:endParaRPr lang="es-ES" sz="1600" kern="1200" dirty="0" smtClean="0">
            <a:latin typeface="Calibri" pitchFamily="34" charset="0"/>
            <a:cs typeface="Calibri" pitchFamily="34" charset="0"/>
          </a:endParaRP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err="1" smtClean="0">
              <a:latin typeface="Calibri" pitchFamily="34" charset="0"/>
              <a:cs typeface="Calibri" pitchFamily="34" charset="0"/>
            </a:rPr>
            <a:t>Magento</a:t>
          </a:r>
          <a:endParaRPr lang="es-ES" sz="1600" kern="1200" dirty="0" smtClean="0">
            <a:latin typeface="Calibri" pitchFamily="34" charset="0"/>
            <a:cs typeface="Calibri" pitchFamily="34" charset="0"/>
          </a:endParaRP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err="1" smtClean="0">
              <a:latin typeface="Calibri" pitchFamily="34" charset="0"/>
              <a:cs typeface="Calibri" pitchFamily="34" charset="0"/>
            </a:rPr>
            <a:t>AngularJS</a:t>
          </a:r>
          <a:endParaRPr lang="es-ES" sz="1600" kern="1200" dirty="0" smtClean="0">
            <a:latin typeface="Calibri" pitchFamily="34" charset="0"/>
            <a:cs typeface="Calibri" pitchFamily="34" charset="0"/>
          </a:endParaRPr>
        </a:p>
      </dsp:txBody>
      <dsp:txXfrm>
        <a:off x="2045314" y="2217600"/>
        <a:ext cx="1983904" cy="2217600"/>
      </dsp:txXfrm>
    </dsp:sp>
    <dsp:sp modelId="{F5EA186D-4DFD-471A-8A0E-91F32EC9CF77}">
      <dsp:nvSpPr>
        <dsp:cNvPr id="0" name=""/>
        <dsp:cNvSpPr/>
      </dsp:nvSpPr>
      <dsp:spPr>
        <a:xfrm>
          <a:off x="2298999" y="186452"/>
          <a:ext cx="1385186" cy="1385186"/>
        </a:xfrm>
        <a:prstGeom prst="ellipse">
          <a:avLst/>
        </a:prstGeom>
        <a:blipFill rotWithShape="0">
          <a:blip xmlns:r="http://schemas.openxmlformats.org/officeDocument/2006/relationships" r:embed="rId2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perspectiveRelaxedModerately"/>
          <a:lightRig rig="twoPt" dir="t"/>
        </a:scene3d>
        <a:sp3d prstMaterial="flat">
          <a:bevelT w="0" h="1016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0153C19-737B-4D93-97E1-1FA7B618209E}">
      <dsp:nvSpPr>
        <dsp:cNvPr id="0" name=""/>
        <dsp:cNvSpPr/>
      </dsp:nvSpPr>
      <dsp:spPr>
        <a:xfrm>
          <a:off x="4088736" y="0"/>
          <a:ext cx="1983904" cy="5544000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494999"/>
            <a:satOff val="-30051"/>
            <a:lumOff val="2402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perspectiveRelaxedModerately"/>
          <a:lightRig rig="twoPt" dir="t"/>
        </a:scene3d>
        <a:sp3d>
          <a:bevelT h="63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kern="1200" dirty="0" smtClean="0">
              <a:latin typeface="Calibri" pitchFamily="34" charset="0"/>
              <a:cs typeface="Calibri" pitchFamily="34" charset="0"/>
            </a:rPr>
            <a:t>Mobile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err="1" smtClean="0">
              <a:latin typeface="Calibri" pitchFamily="34" charset="0"/>
              <a:cs typeface="Calibri" pitchFamily="34" charset="0"/>
            </a:rPr>
            <a:t>PhoneGap</a:t>
          </a:r>
          <a:r>
            <a:rPr lang="es-ES" sz="1600" kern="1200" dirty="0" smtClean="0">
              <a:latin typeface="Calibri" pitchFamily="34" charset="0"/>
              <a:cs typeface="Calibri" pitchFamily="34" charset="0"/>
            </a:rPr>
            <a:t> 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err="1" smtClean="0">
              <a:latin typeface="Calibri" pitchFamily="34" charset="0"/>
              <a:cs typeface="Calibri" pitchFamily="34" charset="0"/>
            </a:rPr>
            <a:t>Ionic</a:t>
          </a:r>
          <a:endParaRPr lang="es-ES" sz="1600" kern="1200" dirty="0" smtClean="0">
            <a:latin typeface="Calibri" pitchFamily="34" charset="0"/>
            <a:cs typeface="Calibri" pitchFamily="34" charset="0"/>
          </a:endParaRP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err="1" smtClean="0">
              <a:latin typeface="Calibri" pitchFamily="34" charset="0"/>
              <a:cs typeface="Calibri" pitchFamily="34" charset="0"/>
            </a:rPr>
            <a:t>AngularJS</a:t>
          </a:r>
          <a:endParaRPr lang="es-ES" sz="1600" kern="1200" dirty="0" smtClean="0">
            <a:latin typeface="Calibri" pitchFamily="34" charset="0"/>
            <a:cs typeface="Calibri" pitchFamily="34" charset="0"/>
          </a:endParaRP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smtClean="0">
              <a:latin typeface="Calibri" pitchFamily="34" charset="0"/>
              <a:cs typeface="Calibri" pitchFamily="34" charset="0"/>
            </a:rPr>
            <a:t>REST (Java, Node.js)</a:t>
          </a:r>
        </a:p>
      </dsp:txBody>
      <dsp:txXfrm>
        <a:off x="4088736" y="2217600"/>
        <a:ext cx="1983904" cy="2217600"/>
      </dsp:txXfrm>
    </dsp:sp>
    <dsp:sp modelId="{000099B1-7C95-421D-8D7F-EEE8726C3DB4}">
      <dsp:nvSpPr>
        <dsp:cNvPr id="0" name=""/>
        <dsp:cNvSpPr/>
      </dsp:nvSpPr>
      <dsp:spPr>
        <a:xfrm>
          <a:off x="4313122" y="157172"/>
          <a:ext cx="1535130" cy="1535130"/>
        </a:xfrm>
        <a:prstGeom prst="ellipse">
          <a:avLst/>
        </a:prstGeom>
        <a:blipFill rotWithShape="0">
          <a:blip xmlns:r="http://schemas.openxmlformats.org/officeDocument/2006/relationships" r:embed="rId3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perspectiveRelaxedModerately"/>
          <a:lightRig rig="twoPt" dir="t"/>
        </a:scene3d>
        <a:sp3d prstMaterial="flat">
          <a:bevelT w="0" h="1016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E7EEFA5-9EB7-4C28-93D5-0B1234852D73}">
      <dsp:nvSpPr>
        <dsp:cNvPr id="0" name=""/>
        <dsp:cNvSpPr/>
      </dsp:nvSpPr>
      <dsp:spPr>
        <a:xfrm>
          <a:off x="6132157" y="0"/>
          <a:ext cx="1983904" cy="5544000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742498"/>
            <a:satOff val="-45077"/>
            <a:lumOff val="3603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perspectiveRelaxedModerately"/>
          <a:lightRig rig="twoPt" dir="t"/>
        </a:scene3d>
        <a:sp3d>
          <a:bevelT h="63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kern="1200" dirty="0" smtClean="0">
              <a:latin typeface="Calibri" pitchFamily="34" charset="0"/>
              <a:cs typeface="Calibri" pitchFamily="34" charset="0"/>
            </a:rPr>
            <a:t>BI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err="1" smtClean="0">
              <a:latin typeface="Calibri" pitchFamily="34" charset="0"/>
              <a:cs typeface="Calibri" pitchFamily="34" charset="0"/>
            </a:rPr>
            <a:t>QlikView</a:t>
          </a:r>
          <a:endParaRPr lang="es-ES" sz="1600" kern="1200" dirty="0" smtClean="0">
            <a:latin typeface="Calibri" pitchFamily="34" charset="0"/>
            <a:cs typeface="Calibri" pitchFamily="34" charset="0"/>
          </a:endParaRP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smtClean="0">
              <a:latin typeface="Calibri" pitchFamily="34" charset="0"/>
              <a:cs typeface="Calibri" pitchFamily="34" charset="0"/>
            </a:rPr>
            <a:t>DWH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err="1" smtClean="0">
              <a:latin typeface="Calibri" pitchFamily="34" charset="0"/>
              <a:cs typeface="Calibri" pitchFamily="34" charset="0"/>
            </a:rPr>
            <a:t>NoSQL</a:t>
          </a:r>
          <a:endParaRPr lang="es-ES" sz="1600" kern="1200" dirty="0">
            <a:latin typeface="Calibri" pitchFamily="34" charset="0"/>
            <a:cs typeface="Calibri" pitchFamily="34" charset="0"/>
          </a:endParaRPr>
        </a:p>
      </dsp:txBody>
      <dsp:txXfrm>
        <a:off x="6132157" y="2217600"/>
        <a:ext cx="1983904" cy="2217600"/>
      </dsp:txXfrm>
    </dsp:sp>
    <dsp:sp modelId="{E98B51E9-B199-4F70-A8D4-E4A6F1B3106D}">
      <dsp:nvSpPr>
        <dsp:cNvPr id="0" name=""/>
        <dsp:cNvSpPr/>
      </dsp:nvSpPr>
      <dsp:spPr>
        <a:xfrm>
          <a:off x="6393052" y="157163"/>
          <a:ext cx="1462115" cy="1462115"/>
        </a:xfrm>
        <a:prstGeom prst="ellipse">
          <a:avLst/>
        </a:prstGeom>
        <a:blipFill rotWithShape="0">
          <a:blip xmlns:r="http://schemas.openxmlformats.org/officeDocument/2006/relationships" r:embed="rId4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perspectiveRelaxedModerately"/>
          <a:lightRig rig="twoPt" dir="t"/>
        </a:scene3d>
        <a:sp3d prstMaterial="flat">
          <a:bevelT w="0" h="1016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A283D63-0392-4FE6-94B9-ACAE5AB48E6B}">
      <dsp:nvSpPr>
        <dsp:cNvPr id="0" name=""/>
        <dsp:cNvSpPr/>
      </dsp:nvSpPr>
      <dsp:spPr>
        <a:xfrm>
          <a:off x="324718" y="4435200"/>
          <a:ext cx="7468518" cy="831600"/>
        </a:xfrm>
        <a:prstGeom prst="leftRigh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perspectiveRelaxedModerately"/>
          <a:lightRig rig="twoPt" dir="t"/>
        </a:scene3d>
        <a:sp3d prstMaterial="plastic">
          <a:bevelT h="63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D3FB84B-4D10-4308-8D9E-83979A3C788A}">
      <dsp:nvSpPr>
        <dsp:cNvPr id="0" name=""/>
        <dsp:cNvSpPr/>
      </dsp:nvSpPr>
      <dsp:spPr>
        <a:xfrm>
          <a:off x="0" y="1428962"/>
          <a:ext cx="2237971" cy="2237771"/>
        </a:xfrm>
        <a:prstGeom prst="ellipse">
          <a:avLst/>
        </a:prstGeom>
        <a:blipFill rotWithShape="0">
          <a:blip xmlns:r="http://schemas.openxmlformats.org/officeDocument/2006/relationships" r:embed="rId1">
            <a:duotone>
              <a:schemeClr val="accent3">
                <a:shade val="45000"/>
                <a:satMod val="135000"/>
              </a:schemeClr>
              <a:prstClr val="white"/>
            </a:duotone>
            <a:extLst/>
          </a:blip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300" b="1" kern="1200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rPr>
            <a:t>Strategic principles of the resource model</a:t>
          </a:r>
          <a:endParaRPr lang="en-GB" sz="2300" kern="1200" dirty="0">
            <a:solidFill>
              <a:schemeClr val="accent6"/>
            </a:solidFill>
            <a:latin typeface="Calibri" pitchFamily="34" charset="0"/>
            <a:cs typeface="Calibri" pitchFamily="34" charset="0"/>
          </a:endParaRPr>
        </a:p>
      </dsp:txBody>
      <dsp:txXfrm>
        <a:off x="327743" y="1756676"/>
        <a:ext cx="1582485" cy="1582343"/>
      </dsp:txXfrm>
    </dsp:sp>
    <dsp:sp modelId="{BA99CE67-B8E5-489D-A6BA-5561B71C9221}">
      <dsp:nvSpPr>
        <dsp:cNvPr id="0" name=""/>
        <dsp:cNvSpPr/>
      </dsp:nvSpPr>
      <dsp:spPr>
        <a:xfrm>
          <a:off x="-1565134" y="184563"/>
          <a:ext cx="4510766" cy="4702028"/>
        </a:xfrm>
        <a:prstGeom prst="blockArc">
          <a:avLst>
            <a:gd name="adj1" fmla="val 16509444"/>
            <a:gd name="adj2" fmla="val 5088054"/>
            <a:gd name="adj3" fmla="val 524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046CB5-1DB1-44C4-B48B-DCE58A297BC6}">
      <dsp:nvSpPr>
        <dsp:cNvPr id="0" name=""/>
        <dsp:cNvSpPr/>
      </dsp:nvSpPr>
      <dsp:spPr>
        <a:xfrm>
          <a:off x="1227496" y="0"/>
          <a:ext cx="1199147" cy="1198897"/>
        </a:xfrm>
        <a:prstGeom prst="ellipse">
          <a:avLst/>
        </a:prstGeom>
        <a:blipFill>
          <a:blip xmlns:r="http://schemas.openxmlformats.org/officeDocument/2006/relationships" r:embed="rId2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 l="-20000" r="-20000"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9EA0C61-C56A-44D2-BC56-8977955501BC}">
      <dsp:nvSpPr>
        <dsp:cNvPr id="0" name=""/>
        <dsp:cNvSpPr/>
      </dsp:nvSpPr>
      <dsp:spPr>
        <a:xfrm>
          <a:off x="2751863" y="15337"/>
          <a:ext cx="5384293" cy="11605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10000"/>
            </a:spcAft>
          </a:pPr>
          <a:r>
            <a:rPr lang="en-GB" sz="1800" b="0" kern="1200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rPr>
            <a:t>Core skills are kept internally. Key knowledge about projects is maintained secured within the team, avoiding vendor locking.</a:t>
          </a:r>
          <a:endParaRPr lang="en-GB" sz="1800" b="0" kern="1200" dirty="0">
            <a:solidFill>
              <a:schemeClr val="accent6"/>
            </a:solidFill>
            <a:latin typeface="Calibri" pitchFamily="34" charset="0"/>
            <a:cs typeface="Calibri" pitchFamily="34" charset="0"/>
          </a:endParaRPr>
        </a:p>
      </dsp:txBody>
      <dsp:txXfrm>
        <a:off x="2751863" y="15337"/>
        <a:ext cx="5384293" cy="1160552"/>
      </dsp:txXfrm>
    </dsp:sp>
    <dsp:sp modelId="{260FCC27-F99A-443F-85B1-A0E7B1A48C47}">
      <dsp:nvSpPr>
        <dsp:cNvPr id="0" name=""/>
        <dsp:cNvSpPr/>
      </dsp:nvSpPr>
      <dsp:spPr>
        <a:xfrm>
          <a:off x="2113223" y="1116584"/>
          <a:ext cx="1199147" cy="1198897"/>
        </a:xfrm>
        <a:prstGeom prst="ellipse">
          <a:avLst/>
        </a:prstGeom>
        <a:blipFill>
          <a:blip xmlns:r="http://schemas.openxmlformats.org/officeDocument/2006/relationships" r:embed="rId3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 t="-15000" b="-15000"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87CA066-E4A2-49EE-95B1-5477A3C540D0}">
      <dsp:nvSpPr>
        <dsp:cNvPr id="0" name=""/>
        <dsp:cNvSpPr/>
      </dsp:nvSpPr>
      <dsp:spPr>
        <a:xfrm>
          <a:off x="3472691" y="1137546"/>
          <a:ext cx="5384293" cy="11605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10000"/>
            </a:spcAft>
          </a:pPr>
          <a:r>
            <a:rPr lang="en-GB" sz="1800" b="0" kern="1200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rPr>
            <a:t>Minimum</a:t>
          </a:r>
          <a:r>
            <a:rPr lang="en-GB" sz="1800" b="0" kern="1200" baseline="0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rPr>
            <a:t> number of internal FTE, allowing for a sustainable team under low workload conditions.</a:t>
          </a:r>
          <a:endParaRPr lang="en-GB" sz="1800" b="0" kern="1200" dirty="0">
            <a:solidFill>
              <a:schemeClr val="accent6"/>
            </a:solidFill>
            <a:latin typeface="Calibri" pitchFamily="34" charset="0"/>
            <a:cs typeface="Calibri" pitchFamily="34" charset="0"/>
          </a:endParaRPr>
        </a:p>
      </dsp:txBody>
      <dsp:txXfrm>
        <a:off x="3472691" y="1137546"/>
        <a:ext cx="5384293" cy="1160552"/>
      </dsp:txXfrm>
    </dsp:sp>
    <dsp:sp modelId="{76969261-9396-4C50-97F5-EF9102D9D222}">
      <dsp:nvSpPr>
        <dsp:cNvPr id="0" name=""/>
        <dsp:cNvSpPr/>
      </dsp:nvSpPr>
      <dsp:spPr>
        <a:xfrm>
          <a:off x="2108624" y="2758230"/>
          <a:ext cx="1199147" cy="1198897"/>
        </a:xfrm>
        <a:prstGeom prst="ellipse">
          <a:avLst/>
        </a:prstGeom>
        <a:blipFill>
          <a:blip xmlns:r="http://schemas.openxmlformats.org/officeDocument/2006/relationships"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5000" r="-35000"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FA2D976-D0A8-4F8E-BBE3-021002734E78}">
      <dsp:nvSpPr>
        <dsp:cNvPr id="0" name=""/>
        <dsp:cNvSpPr/>
      </dsp:nvSpPr>
      <dsp:spPr>
        <a:xfrm>
          <a:off x="3472691" y="2777658"/>
          <a:ext cx="5384293" cy="11605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10000"/>
            </a:spcAft>
          </a:pPr>
          <a:r>
            <a:rPr lang="en-GB" sz="1800" b="0" kern="1200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rPr>
            <a:t>International team with internal members located in several countries across Europe.</a:t>
          </a:r>
          <a:endParaRPr lang="en-GB" sz="1800" b="0" kern="1200" dirty="0">
            <a:solidFill>
              <a:schemeClr val="accent6"/>
            </a:solidFill>
            <a:latin typeface="Calibri" pitchFamily="34" charset="0"/>
            <a:cs typeface="Calibri" pitchFamily="34" charset="0"/>
          </a:endParaRPr>
        </a:p>
      </dsp:txBody>
      <dsp:txXfrm>
        <a:off x="3472691" y="2777658"/>
        <a:ext cx="5384293" cy="1160552"/>
      </dsp:txXfrm>
    </dsp:sp>
    <dsp:sp modelId="{881ADFD4-51AC-4FFB-814F-8CF6704D198E}">
      <dsp:nvSpPr>
        <dsp:cNvPr id="0" name=""/>
        <dsp:cNvSpPr/>
      </dsp:nvSpPr>
      <dsp:spPr>
        <a:xfrm>
          <a:off x="1227496" y="3913670"/>
          <a:ext cx="1199147" cy="1198897"/>
        </a:xfrm>
        <a:prstGeom prst="ellipse">
          <a:avLst/>
        </a:prstGeom>
        <a:blipFill>
          <a:blip xmlns:r="http://schemas.openxmlformats.org/officeDocument/2006/relationships" r:embed="rId5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 l="-26000" r="-26000"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32FECBA8-6F4E-4368-B3A2-19BC7161B2A5}">
      <dsp:nvSpPr>
        <dsp:cNvPr id="0" name=""/>
        <dsp:cNvSpPr/>
      </dsp:nvSpPr>
      <dsp:spPr>
        <a:xfrm>
          <a:off x="2751863" y="3938211"/>
          <a:ext cx="5384293" cy="11605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10000"/>
            </a:spcAft>
          </a:pPr>
          <a:r>
            <a:rPr lang="en-GB" sz="1800" b="0" kern="1200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rPr>
            <a:t>Variable workload managed through a flexible pool of resources from local selected Spanish partners with past experience in Alliance Boots projects.</a:t>
          </a:r>
          <a:endParaRPr lang="en-GB" sz="1800" b="0" kern="1200" dirty="0">
            <a:solidFill>
              <a:schemeClr val="accent6"/>
            </a:solidFill>
            <a:latin typeface="Calibri" pitchFamily="34" charset="0"/>
            <a:cs typeface="Calibri" pitchFamily="34" charset="0"/>
          </a:endParaRPr>
        </a:p>
      </dsp:txBody>
      <dsp:txXfrm>
        <a:off x="2751863" y="3938211"/>
        <a:ext cx="5384293" cy="116055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#1">
  <dgm:title val=""/>
  <dgm:desc val=""/>
  <dgm:catLst>
    <dgm:cat type="list" pri="12000"/>
    <dgm:cat type="process" pri="20000"/>
    <dgm:cat type="relationship" pri="14000"/>
    <dgm:cat type="convert" pri="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1/layout/RadialPictureList#2">
  <dgm:title val="Radial Picture List"/>
  <dgm:desc val="Use to show relationships to a central idea. The Level 1 shape contains text and all Level 2 shapes contain a picture with corresponding text. Limited to four Level 2 pictures.  Unused pictures do not appear, but remain available if you switch layouts. Works best with a small amount of Level 2 text."/>
  <dgm:catLst>
    <dgm:cat type="picture" pri="2500"/>
    <dgm:cat type="officeonline" pri="2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10" destId="14" srcOrd="3" destOrd="0"/>
      </dgm:cxnLst>
      <dgm:bg/>
      <dgm:whole/>
    </dgm:dataModel>
  </dgm:clrData>
  <dgm:layoutNode name="Name0">
    <dgm:varLst>
      <dgm:chMax val="1"/>
      <dgm:chPref val="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Child1" refType="w" fact="0.76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5661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6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l" for="ch" forName="Parent" refType="w" fact="0.1777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l" for="ch" forName="Image1" refType="w" fact="0.5531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l" for="ch" forName="Image2" refType="w" fact="0.5531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l" for="ch" forName="Child1" refType="w" fact="0.7529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l" for="ch" forName="Child2" refType="w" fact="0.7529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7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4968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l" for="ch" forName="Image2" refType="w" fact="0.5661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l" for="ch" forName="Image3" refType="w" fact="0.4968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l" for="ch" forName="Child1" refType="w" fact="0.6897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l" for="ch" forName="Child2" refType="w" fact="0.76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l" for="ch" forName="Child3" refType="w" fact="0.6897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8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" refType="w" fact="0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l" for="ch" forName="Parent" refType="w" fact="0.1756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l" for="ch" forName="Image1" refType="w" fact="0.42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l" for="ch" forName="Image2" refType="w" fact="0.5598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l" for="ch" forName="Image3" refType="w" fact="0.5591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l" for="ch" forName="Image4" refType="w" fact="0.42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l" for="ch" forName="Child1" refType="w" fact="0.6214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l" for="ch" forName="Child2" refType="w" fact="0.7557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l" for="ch" forName="Child3" refType="w" fact="0.7557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l" for="ch" forName="Child4" refType="w" fact="0.6214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if>
      <dgm:else name="Name9">
        <dgm:choose name="Name10">
          <dgm:if name="Name11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2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Child1" refType="w" fact="0.24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4339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13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r" for="ch" forName="Parent" refType="w" fact="0.8223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r" for="ch" forName="Image1" refType="w" fact="0.4469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r" for="ch" forName="Image2" refType="w" fact="0.4469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r" for="ch" forName="Child1" refType="w" fact="0.2471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r" for="ch" forName="Child2" refType="w" fact="0.2471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14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5032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r" for="ch" forName="Image2" refType="w" fact="0.4339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r" for="ch" forName="Image3" refType="w" fact="0.5032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r" for="ch" forName="Child1" refType="w" fact="0.3103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r" for="ch" forName="Child2" refType="w" fact="0.24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r" for="ch" forName="Child3" refType="w" fact="0.3103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15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" refType="w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r" for="ch" forName="Parent" refType="w" fact="0.8244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r" for="ch" forName="Image1" refType="w" fact="0.57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r" for="ch" forName="Image2" refType="w" fact="0.4402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r" for="ch" forName="Image3" refType="w" fact="0.4409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r" for="ch" forName="Image4" refType="w" fact="0.57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r" for="ch" forName="Child1" refType="w" fact="0.3786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r" for="ch" forName="Child2" refType="w" fact="0.2443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r" for="ch" forName="Child3" refType="w" fact="0.2443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r" for="ch" forName="Child4" refType="w" fact="0.3786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else>
    </dgm:choose>
    <dgm:forEach name="wrapper" axis="self" ptType="parTrans">
      <dgm:forEach name="ImageRepeat" axis="self">
        <dgm:layoutNode name="Image" styleLbl="fgImgPlace1">
          <dgm:alg type="sp"/>
          <dgm:shape xmlns:r="http://schemas.openxmlformats.org/officeDocument/2006/relationships" type="ellipse" r:blip="" blipPhldr="1">
            <dgm:adjLst/>
          </dgm:shape>
          <dgm:presOf/>
        </dgm:layoutNode>
      </dgm:forEach>
    </dgm:forEach>
    <dgm:forEach name="Name16" axis="ch" ptType="node" cnt="1">
      <dgm:layoutNode name="Parent" styleLbl="node1">
        <dgm:varLst>
          <dgm:chMax val="4"/>
          <dgm:chPref val="3"/>
        </dgm:varLst>
        <dgm:alg type="tx"/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7" axis="ch ch" ptType="node node" st="1 1" cnt="1 1">
      <dgm:layoutNode name="Accent" styleLbl="node1">
        <dgm:alg type="sp"/>
        <dgm:choose name="Name18">
          <dgm:if name="Name19" func="var" arg="dir" op="equ" val="norm">
            <dgm:choose name="Name20">
              <dgm:if name="Name21" axis="followSib" ptType="node" func="cnt" op="equ" val="0">
                <dgm:shape xmlns:r="http://schemas.openxmlformats.org/officeDocument/2006/relationships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2" axis="followSib" ptType="node" func="cnt" op="equ" val="1">
                <dgm:shape xmlns:r="http://schemas.openxmlformats.org/officeDocument/2006/relationships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3" axis="followSib" ptType="node" func="cnt" op="equ" val="2">
                <dgm:shape xmlns:r="http://schemas.openxmlformats.org/officeDocument/2006/relationships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24">
                <dgm:shape xmlns:r="http://schemas.openxmlformats.org/officeDocument/2006/relationships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if>
          <dgm:else name="Name25">
            <dgm:choose name="Name26">
              <dgm:if name="Name27" axis="followSib" ptType="node" func="cnt" op="equ" val="0">
                <dgm:shape xmlns:r="http://schemas.openxmlformats.org/officeDocument/2006/relationships" rot="180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8" axis="followSib" ptType="node" func="cnt" op="equ" val="1">
                <dgm:shape xmlns:r="http://schemas.openxmlformats.org/officeDocument/2006/relationships" rot="180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9" axis="followSib" ptType="node" func="cnt" op="equ" val="2">
                <dgm:shape xmlns:r="http://schemas.openxmlformats.org/officeDocument/2006/relationships" rot="180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30">
                <dgm:shape xmlns:r="http://schemas.openxmlformats.org/officeDocument/2006/relationships" rot="180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else>
        </dgm:choose>
        <dgm:presOf/>
      </dgm:layoutNode>
      <dgm:layoutNode name="Image1" styleLbl="fgImgPlace1">
        <dgm:alg type="sp"/>
        <dgm:shape xmlns:r="http://schemas.openxmlformats.org/officeDocument/2006/relationships" type="ellipse" r:blip="" blipPhldr="1">
          <dgm:adjLst/>
        </dgm:shape>
        <dgm:presOf/>
      </dgm:layoutNode>
      <dgm:layoutNode name="Child1" styleLbl="revTx">
        <dgm:varLst>
          <dgm:chMax val="0"/>
          <dgm:chPref val="0"/>
          <dgm:bulletEnabled val="1"/>
        </dgm:varLst>
        <dgm:choose name="Name31">
          <dgm:if name="Name32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33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4" axis="ch ch" ptType="node node" st="1 2" cnt="1 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35" ref="ImageRepeat"/>
      </dgm:layoutNode>
      <dgm:layoutNode name="Child2" styleLbl="revTx">
        <dgm:varLst>
          <dgm:chMax val="0"/>
          <dgm:chPref val="0"/>
          <dgm:bulletEnabled val="1"/>
        </dgm:varLst>
        <dgm:choose name="Name36">
          <dgm:if name="Name37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38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9" axis="ch ch" ptType="node node" st="1 3" cnt="1 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40" ref="ImageRepeat"/>
      </dgm:layoutNode>
      <dgm:layoutNode name="Child3" styleLbl="revTx">
        <dgm:varLst>
          <dgm:chMax val="0"/>
          <dgm:chPref val="0"/>
          <dgm:bulletEnabled val="1"/>
        </dgm:varLst>
        <dgm:choose name="Name41">
          <dgm:if name="Name42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43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4" axis="ch ch" ptType="node node" st="1 4" cnt="1 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45" ref="ImageRepeat"/>
      </dgm:layoutNode>
      <dgm:layoutNode name="Child4" styleLbl="revTx">
        <dgm:varLst>
          <dgm:chMax val="0"/>
          <dgm:chPref val="0"/>
          <dgm:bulletEnabled val="1"/>
        </dgm:varLst>
        <dgm:choose name="Name46">
          <dgm:if name="Name47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48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2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2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58967B-EA4B-4840-9FBD-D9560225C72D}" type="datetimeFigureOut">
              <a:rPr lang="es-ES" smtClean="0"/>
              <a:pPr/>
              <a:t>26/10/2014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9361488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49688" y="9361488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350187-187E-499C-9F0E-EBDF198A65F0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470195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2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2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128D1F-C79E-4210-9DE1-0E7FA3D4AB14}" type="datetimeFigureOut">
              <a:rPr lang="en-GB" smtClean="0"/>
              <a:pPr/>
              <a:t>26/10/201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5038" y="739775"/>
            <a:ext cx="4927600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681538"/>
            <a:ext cx="5438775" cy="44354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61488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361488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1B6A8D-805B-48E2-965C-0016DD6675CD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1136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5E1535-0287-48A4-8570-249F39E620F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9888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2EDF4DFB-0D89-45EC-8292-82318E8D42CE}" type="slidenum">
              <a:rPr lang="en-GB" sz="1200" smtClean="0">
                <a:solidFill>
                  <a:prstClr val="black"/>
                </a:solidFill>
              </a:rPr>
              <a:pPr eaLnBrk="1" hangingPunct="1"/>
              <a:t>8</a:t>
            </a:fld>
            <a:endParaRPr lang="en-GB" sz="1200" smtClean="0">
              <a:solidFill>
                <a:prstClr val="black"/>
              </a:solidFill>
            </a:endParaRPr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4988" y="4682527"/>
            <a:ext cx="5727700" cy="443508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GB" sz="2000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ChangeArrowheads="1"/>
          </p:cNvSpPr>
          <p:nvPr/>
        </p:nvSpPr>
        <p:spPr bwMode="auto">
          <a:xfrm>
            <a:off x="0" y="3429000"/>
            <a:ext cx="719138" cy="2908300"/>
          </a:xfrm>
          <a:prstGeom prst="rect">
            <a:avLst/>
          </a:prstGeom>
          <a:solidFill>
            <a:srgbClr val="0073CF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3893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719138" y="3429000"/>
            <a:ext cx="4716462" cy="2908300"/>
          </a:xfrm>
          <a:prstGeom prst="rect">
            <a:avLst/>
          </a:prstGeom>
          <a:solidFill>
            <a:srgbClr val="0073CF">
              <a:alpha val="50195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3893"/>
              </a:solidFill>
            </a:endParaRPr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5435600" y="3429000"/>
            <a:ext cx="3708400" cy="2908300"/>
          </a:xfrm>
          <a:prstGeom prst="rect">
            <a:avLst/>
          </a:prstGeom>
          <a:solidFill>
            <a:srgbClr val="009B76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3893"/>
              </a:solidFill>
            </a:endParaRPr>
          </a:p>
        </p:txBody>
      </p:sp>
      <p:sp>
        <p:nvSpPr>
          <p:cNvPr id="8" name="Rectangle 10"/>
          <p:cNvSpPr>
            <a:spLocks noChangeArrowheads="1"/>
          </p:cNvSpPr>
          <p:nvPr/>
        </p:nvSpPr>
        <p:spPr bwMode="auto">
          <a:xfrm>
            <a:off x="2881313" y="5410200"/>
            <a:ext cx="2260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 eaLnBrk="0" hangingPunct="0"/>
            <a:r>
              <a:rPr lang="en-US" sz="2400" b="1">
                <a:solidFill>
                  <a:srgbClr val="FFFFFF"/>
                </a:solidFill>
              </a:rPr>
              <a:t>future</a:t>
            </a:r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5718175" y="5408613"/>
            <a:ext cx="9969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US" sz="2400" b="1">
                <a:solidFill>
                  <a:srgbClr val="FFFFFF"/>
                </a:solidFill>
              </a:rPr>
              <a:t>focus</a:t>
            </a:r>
          </a:p>
        </p:txBody>
      </p:sp>
      <p:sp>
        <p:nvSpPr>
          <p:cNvPr id="10" name="Line 12"/>
          <p:cNvSpPr>
            <a:spLocks noChangeShapeType="1"/>
          </p:cNvSpPr>
          <p:nvPr/>
        </p:nvSpPr>
        <p:spPr bwMode="auto">
          <a:xfrm>
            <a:off x="719138" y="3429000"/>
            <a:ext cx="0" cy="2908300"/>
          </a:xfrm>
          <a:prstGeom prst="line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>
              <a:solidFill>
                <a:srgbClr val="003893"/>
              </a:solidFill>
            </a:endParaRPr>
          </a:p>
        </p:txBody>
      </p:sp>
      <p:sp>
        <p:nvSpPr>
          <p:cNvPr id="11" name="AutoShape 13"/>
          <p:cNvSpPr>
            <a:spLocks noChangeArrowheads="1"/>
          </p:cNvSpPr>
          <p:nvPr/>
        </p:nvSpPr>
        <p:spPr bwMode="auto">
          <a:xfrm>
            <a:off x="5178425" y="5407025"/>
            <a:ext cx="503238" cy="504825"/>
          </a:xfrm>
          <a:prstGeom prst="plus">
            <a:avLst>
              <a:gd name="adj" fmla="val 35014"/>
            </a:avLst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3893"/>
              </a:solidFill>
            </a:endParaRPr>
          </a:p>
        </p:txBody>
      </p:sp>
      <p:sp>
        <p:nvSpPr>
          <p:cNvPr id="12" name="Line 14"/>
          <p:cNvSpPr>
            <a:spLocks noChangeShapeType="1"/>
          </p:cNvSpPr>
          <p:nvPr/>
        </p:nvSpPr>
        <p:spPr bwMode="auto">
          <a:xfrm>
            <a:off x="1042988" y="3429000"/>
            <a:ext cx="0" cy="2908300"/>
          </a:xfrm>
          <a:prstGeom prst="line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>
              <a:solidFill>
                <a:srgbClr val="003893"/>
              </a:solidFill>
            </a:endParaRPr>
          </a:p>
        </p:txBody>
      </p:sp>
      <p:sp>
        <p:nvSpPr>
          <p:cNvPr id="13" name="Line 15"/>
          <p:cNvSpPr>
            <a:spLocks noChangeShapeType="1"/>
          </p:cNvSpPr>
          <p:nvPr/>
        </p:nvSpPr>
        <p:spPr bwMode="auto">
          <a:xfrm>
            <a:off x="8893175" y="3429000"/>
            <a:ext cx="0" cy="2908300"/>
          </a:xfrm>
          <a:prstGeom prst="line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>
              <a:solidFill>
                <a:srgbClr val="003893"/>
              </a:solidFill>
            </a:endParaRPr>
          </a:p>
        </p:txBody>
      </p:sp>
      <p:sp>
        <p:nvSpPr>
          <p:cNvPr id="14" name="Rectangle 16"/>
          <p:cNvSpPr>
            <a:spLocks noChangeArrowheads="1"/>
          </p:cNvSpPr>
          <p:nvPr/>
        </p:nvSpPr>
        <p:spPr bwMode="auto">
          <a:xfrm>
            <a:off x="684213" y="6381750"/>
            <a:ext cx="8185150" cy="306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r>
              <a:rPr lang="en-GB" sz="800">
                <a:solidFill>
                  <a:srgbClr val="808080"/>
                </a:solidFill>
              </a:rPr>
              <a:t>This presentation including graphics is owned by Alliance Healthcare. No part of this presentation may be printed, reproduced, stored in a retrieval system, or transmitted in any form or by any means electronic, mechanical, photographic, recorded or otherwise without the prior written permission of Alliance Healthcare.</a:t>
            </a:r>
          </a:p>
        </p:txBody>
      </p:sp>
      <p:sp>
        <p:nvSpPr>
          <p:cNvPr id="71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19139" y="1438275"/>
            <a:ext cx="5653062" cy="5397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en-GB" noProof="0" dirty="0" smtClean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19139" y="1978025"/>
            <a:ext cx="5653062" cy="12588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2D1D9E-E0D3-4C91-991E-0452ED72BB71}" type="slidenum">
              <a:rPr lang="en-GB">
                <a:solidFill>
                  <a:srgbClr val="808080"/>
                </a:solidFill>
              </a:rPr>
              <a:pPr>
                <a:defRPr/>
              </a:pPr>
              <a:t>‹Nº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1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808080"/>
              </a:solidFill>
            </a:endParaRPr>
          </a:p>
        </p:txBody>
      </p:sp>
      <p:pic>
        <p:nvPicPr>
          <p:cNvPr id="18" name="17 Imagen" descr="TSF Logo Zaragoza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358082" y="142852"/>
            <a:ext cx="1643074" cy="806056"/>
          </a:xfrm>
          <a:prstGeom prst="rect">
            <a:avLst/>
          </a:prstGeom>
        </p:spPr>
      </p:pic>
      <p:pic>
        <p:nvPicPr>
          <p:cNvPr id="19" name="Picture 7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429256" y="141288"/>
            <a:ext cx="1687513" cy="744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373681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26C606-1317-4B5B-A990-AE4C45D31446}" type="slidenum">
              <a:rPr lang="en-GB">
                <a:solidFill>
                  <a:srgbClr val="808080"/>
                </a:solidFill>
              </a:rPr>
              <a:pPr>
                <a:defRPr/>
              </a:pPr>
              <a:t>‹Nº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6043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1475" y="233363"/>
            <a:ext cx="2149475" cy="5911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69875" y="233363"/>
            <a:ext cx="6299200" cy="5911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E69043-F2CC-4119-8384-35048996C352}" type="slidenum">
              <a:rPr lang="en-GB">
                <a:solidFill>
                  <a:srgbClr val="808080"/>
                </a:solidFill>
              </a:rPr>
              <a:pPr>
                <a:defRPr/>
              </a:pPr>
              <a:t>‹Nº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14413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875" y="233363"/>
            <a:ext cx="6478588" cy="7191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69875" y="1330325"/>
            <a:ext cx="4224338" cy="48148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330325"/>
            <a:ext cx="4224337" cy="48148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EFE530-D66B-4AAF-8B74-B472CD903A55}" type="slidenum">
              <a:rPr lang="en-GB">
                <a:solidFill>
                  <a:srgbClr val="808080"/>
                </a:solidFill>
              </a:rPr>
              <a:pPr>
                <a:defRPr/>
              </a:pPr>
              <a:t>‹Nº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78239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238539"/>
            <a:ext cx="8497092" cy="616455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23850" y="854994"/>
            <a:ext cx="8496300" cy="336244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umsplatzhalter 2"/>
          <p:cNvSpPr>
            <a:spLocks noGrp="1"/>
          </p:cNvSpPr>
          <p:nvPr>
            <p:ph type="dt" sz="half" idx="14"/>
          </p:nvPr>
        </p:nvSpPr>
        <p:spPr>
          <a:xfrm>
            <a:off x="32385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MS PGothic" pitchFamily="34" charset="-128"/>
                <a:cs typeface="Arial" charset="0"/>
              </a:defRPr>
            </a:lvl1pPr>
          </a:lstStyle>
          <a:p>
            <a:pPr>
              <a:defRPr/>
            </a:pPr>
            <a:fld id="{D7D5827A-B006-489C-91D9-DEDEC30754DE}" type="datetime1">
              <a:rPr lang="de-DE">
                <a:solidFill>
                  <a:srgbClr val="003893"/>
                </a:solidFill>
              </a:rPr>
              <a:pPr>
                <a:defRPr/>
              </a:pPr>
              <a:t>26.10.2014</a:t>
            </a:fld>
            <a:endParaRPr lang="de-DE" dirty="0">
              <a:solidFill>
                <a:srgbClr val="003893"/>
              </a:solidFill>
            </a:endParaRPr>
          </a:p>
        </p:txBody>
      </p:sp>
      <p:sp>
        <p:nvSpPr>
          <p:cNvPr id="5" name="Fußzeilenplatzhalter 3"/>
          <p:cNvSpPr>
            <a:spLocks noGrp="1"/>
          </p:cNvSpPr>
          <p:nvPr>
            <p:ph type="ftr" sz="quarter" idx="15"/>
          </p:nvPr>
        </p:nvSpPr>
        <p:spPr>
          <a:xfrm>
            <a:off x="2457450" y="6356350"/>
            <a:ext cx="4229100" cy="365125"/>
          </a:xfrm>
        </p:spPr>
        <p:txBody>
          <a:bodyPr lIns="91440" tIns="45720" rIns="91440" bIns="45720"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808080"/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16"/>
          </p:nvPr>
        </p:nvSpPr>
        <p:spPr>
          <a:xfrm>
            <a:off x="668655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AB7736-384B-434B-8321-33E8120215DA}" type="slidenum">
              <a:rPr lang="de-DE">
                <a:solidFill>
                  <a:srgbClr val="808080"/>
                </a:solidFill>
              </a:rPr>
              <a:pPr>
                <a:defRPr/>
              </a:pPr>
              <a:t>‹Nº›</a:t>
            </a:fld>
            <a:endParaRPr lang="de-DE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32469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875" y="233363"/>
            <a:ext cx="6478588" cy="7191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269875" y="1330325"/>
            <a:ext cx="8601075" cy="4814888"/>
          </a:xfrm>
        </p:spPr>
        <p:txBody>
          <a:bodyPr/>
          <a:lstStyle/>
          <a:p>
            <a:pPr lvl="0"/>
            <a:r>
              <a:rPr lang="en-US" noProof="0" smtClean="0"/>
              <a:t>Click icon to add SmartArt graphic</a:t>
            </a:r>
            <a:endParaRPr lang="en-GB" noProof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F311C7-8E8F-4FBC-8AD1-17595AE995BD}" type="slidenum">
              <a:rPr lang="en-GB">
                <a:solidFill>
                  <a:srgbClr val="808080"/>
                </a:solidFill>
              </a:rPr>
              <a:pPr>
                <a:defRPr/>
              </a:pPr>
              <a:t>‹Nº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8429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6017" y="1196752"/>
            <a:ext cx="8930479" cy="50405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08199" y="116632"/>
            <a:ext cx="6478588" cy="45933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07504" y="631914"/>
            <a:ext cx="6481763" cy="43202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DEDF9A-DE1F-4ECE-BBE2-868B393A391E}" type="slidenum">
              <a:rPr>
                <a:solidFill>
                  <a:srgbClr val="808080"/>
                </a:solidFill>
              </a:rPr>
              <a:pPr>
                <a:defRPr/>
              </a:pPr>
              <a:t>‹Nº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5291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466CC5-8C48-4040-981F-DC0C054CB63E}" type="slidenum">
              <a:rPr lang="en-GB">
                <a:solidFill>
                  <a:srgbClr val="808080"/>
                </a:solidFill>
              </a:rPr>
              <a:pPr>
                <a:defRPr/>
              </a:pPr>
              <a:t>‹Nº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87419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4DFE64-5BBC-4606-9FB5-9E7549EA2F24}" type="slidenum">
              <a:rPr lang="en-GB">
                <a:solidFill>
                  <a:srgbClr val="808080"/>
                </a:solidFill>
              </a:rPr>
              <a:pPr>
                <a:defRPr/>
              </a:pPr>
              <a:t>‹Nº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9822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9875" y="1330325"/>
            <a:ext cx="4224338" cy="48148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330325"/>
            <a:ext cx="4224337" cy="48148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D7DAE-5C53-42D1-A668-918EED672A19}" type="slidenum">
              <a:rPr lang="en-GB">
                <a:solidFill>
                  <a:srgbClr val="808080"/>
                </a:solidFill>
              </a:rPr>
              <a:pPr>
                <a:defRPr/>
              </a:pPr>
              <a:t>‹Nº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9481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6392BA-55E7-45AF-8B53-589E1F96C9A2}" type="slidenum">
              <a:rPr lang="en-GB">
                <a:solidFill>
                  <a:srgbClr val="808080"/>
                </a:solidFill>
              </a:rPr>
              <a:pPr>
                <a:defRPr/>
              </a:pPr>
              <a:t>‹Nº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9562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AADB0B-2FD4-484F-86A1-4984AC18928C}" type="slidenum">
              <a:rPr lang="en-GB">
                <a:solidFill>
                  <a:srgbClr val="808080"/>
                </a:solidFill>
              </a:rPr>
              <a:pPr>
                <a:defRPr/>
              </a:pPr>
              <a:t>‹Nº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4685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8311E6-8FDE-4251-9F1E-4F8B86988CA9}" type="slidenum">
              <a:rPr lang="en-GB">
                <a:solidFill>
                  <a:srgbClr val="808080"/>
                </a:solidFill>
              </a:rPr>
              <a:pPr>
                <a:defRPr/>
              </a:pPr>
              <a:t>‹Nº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158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3EF6DF-D7B9-42EF-A3F4-7FE6E8D81114}" type="slidenum">
              <a:rPr lang="en-GB">
                <a:solidFill>
                  <a:srgbClr val="808080"/>
                </a:solidFill>
              </a:rPr>
              <a:pPr>
                <a:defRPr/>
              </a:pPr>
              <a:t>‹Nº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33377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F98C48-3C61-4AA3-B1B5-79CA2089D103}" type="slidenum">
              <a:rPr lang="en-GB">
                <a:solidFill>
                  <a:srgbClr val="808080"/>
                </a:solidFill>
              </a:rPr>
              <a:pPr>
                <a:defRPr/>
              </a:pPr>
              <a:t>‹Nº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86970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1133475"/>
            <a:ext cx="9140825" cy="5218113"/>
          </a:xfrm>
          <a:prstGeom prst="rect">
            <a:avLst/>
          </a:prstGeom>
          <a:solidFill>
            <a:srgbClr val="0073CF">
              <a:alpha val="10196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003893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69875" y="233363"/>
            <a:ext cx="6030913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  <a:br>
              <a:rPr lang="en-GB" smtClean="0"/>
            </a:br>
            <a:endParaRPr lang="en-GB" smtClean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69875" y="1330325"/>
            <a:ext cx="8601075" cy="4814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69875" y="6524625"/>
            <a:ext cx="360363" cy="306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bg2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491F537F-1B42-4CEC-9DEB-07D815A2ADB3}" type="slidenum">
              <a:rPr lang="en-GB">
                <a:solidFill>
                  <a:srgbClr val="808080"/>
                </a:solidFill>
              </a:rPr>
              <a:pPr>
                <a:defRPr/>
              </a:pPr>
              <a:t>‹Nº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72000" y="6524625"/>
            <a:ext cx="4297363" cy="306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bg2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srgbClr val="808080"/>
              </a:solidFill>
            </a:endParaRP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684213" y="6381750"/>
            <a:ext cx="8185150" cy="306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r>
              <a:rPr lang="en-GB" sz="800">
                <a:solidFill>
                  <a:srgbClr val="808080"/>
                </a:solidFill>
              </a:rPr>
              <a:t>This presentation including graphics is owned by Alliance Healthcare. No part of this presentation may be printed, reproduced, stored in a retrieval system, or transmitted in any form or by any means electronic, mechanical, photographic, recorded or otherwise without the prior written permission of Alliance Healthcare.</a:t>
            </a:r>
          </a:p>
        </p:txBody>
      </p:sp>
      <p:pic>
        <p:nvPicPr>
          <p:cNvPr id="9" name="8 Imagen" descr="TSF Logo Zaragoza.jp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7358082" y="142852"/>
            <a:ext cx="1643074" cy="806056"/>
          </a:xfrm>
          <a:prstGeom prst="rect">
            <a:avLst/>
          </a:prstGeom>
        </p:spPr>
      </p:pic>
      <p:pic>
        <p:nvPicPr>
          <p:cNvPr id="10" name="Picture 7"/>
          <p:cNvPicPr>
            <a:picLocks noChangeAspect="1" noChangeArrowheads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5429256" y="141288"/>
            <a:ext cx="1687513" cy="744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819922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0" r:id="rId1"/>
    <p:sldLayoutId id="2147484681" r:id="rId2"/>
    <p:sldLayoutId id="2147484682" r:id="rId3"/>
    <p:sldLayoutId id="2147484683" r:id="rId4"/>
    <p:sldLayoutId id="2147484684" r:id="rId5"/>
    <p:sldLayoutId id="2147484685" r:id="rId6"/>
    <p:sldLayoutId id="2147484686" r:id="rId7"/>
    <p:sldLayoutId id="2147484687" r:id="rId8"/>
    <p:sldLayoutId id="2147484688" r:id="rId9"/>
    <p:sldLayoutId id="2147484689" r:id="rId10"/>
    <p:sldLayoutId id="2147484690" r:id="rId11"/>
    <p:sldLayoutId id="2147484691" r:id="rId12"/>
    <p:sldLayoutId id="2147484692" r:id="rId13"/>
    <p:sldLayoutId id="2147484693" r:id="rId14"/>
    <p:sldLayoutId id="2147484694" r:id="rId15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3CF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3CF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3CF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3CF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3CF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3CF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3CF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3CF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3C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 sz="2400">
          <a:solidFill>
            <a:srgbClr val="0073CF"/>
          </a:solidFill>
          <a:latin typeface="+mn-lt"/>
          <a:ea typeface="ＭＳ Ｐゴシック" pitchFamily="34" charset="-128"/>
          <a:cs typeface="+mn-cs"/>
        </a:defRPr>
      </a:lvl1pPr>
      <a:lvl2pPr marL="355600" indent="-176213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rgbClr val="0073CF"/>
          </a:solidFill>
          <a:latin typeface="+mn-lt"/>
          <a:ea typeface="ＭＳ Ｐゴシック" pitchFamily="34" charset="-128"/>
        </a:defRPr>
      </a:lvl2pPr>
      <a:lvl3pPr marL="723900" indent="-87313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rgbClr val="0073CF"/>
          </a:solidFill>
          <a:latin typeface="+mn-lt"/>
          <a:ea typeface="ＭＳ Ｐゴシック" pitchFamily="34" charset="-128"/>
        </a:defRPr>
      </a:lvl3pPr>
      <a:lvl4pPr marL="1079500" indent="-176213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rgbClr val="0073CF"/>
          </a:solidFill>
          <a:latin typeface="+mn-lt"/>
          <a:ea typeface="ＭＳ Ｐゴシック" pitchFamily="34" charset="-128"/>
        </a:defRPr>
      </a:lvl4pPr>
      <a:lvl5pPr marL="1435100" indent="-176213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rgbClr val="0073CF"/>
          </a:solidFill>
          <a:latin typeface="+mn-lt"/>
          <a:ea typeface="ＭＳ Ｐゴシック" pitchFamily="34" charset="-128"/>
        </a:defRPr>
      </a:lvl5pPr>
      <a:lvl6pPr marL="1892300" indent="-176213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rgbClr val="0073CF"/>
          </a:solidFill>
          <a:latin typeface="+mn-lt"/>
          <a:ea typeface="+mn-ea"/>
        </a:defRPr>
      </a:lvl6pPr>
      <a:lvl7pPr marL="2349500" indent="-176213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rgbClr val="0073CF"/>
          </a:solidFill>
          <a:latin typeface="+mn-lt"/>
          <a:ea typeface="+mn-ea"/>
        </a:defRPr>
      </a:lvl7pPr>
      <a:lvl8pPr marL="2806700" indent="-176213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rgbClr val="0073CF"/>
          </a:solidFill>
          <a:latin typeface="+mn-lt"/>
          <a:ea typeface="+mn-ea"/>
        </a:defRPr>
      </a:lvl8pPr>
      <a:lvl9pPr marL="3263900" indent="-176213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rgbClr val="0073CF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12" Type="http://schemas.openxmlformats.org/officeDocument/2006/relationships/image" Target="../media/image16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jpeg"/><Relationship Id="rId11" Type="http://schemas.openxmlformats.org/officeDocument/2006/relationships/image" Target="../media/image15.jpeg"/><Relationship Id="rId5" Type="http://schemas.openxmlformats.org/officeDocument/2006/relationships/image" Target="../media/image9.png"/><Relationship Id="rId10" Type="http://schemas.openxmlformats.org/officeDocument/2006/relationships/image" Target="../media/image14.jpeg"/><Relationship Id="rId4" Type="http://schemas.openxmlformats.org/officeDocument/2006/relationships/image" Target="../media/image8.jpeg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Rectangle 7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>
          <a:xfrm>
            <a:off x="251520" y="908050"/>
            <a:ext cx="6408712" cy="504726"/>
          </a:xfrm>
        </p:spPr>
        <p:txBody>
          <a:bodyPr/>
          <a:lstStyle/>
          <a:p>
            <a:pPr eaLnBrk="1" hangingPunct="1">
              <a:spcBef>
                <a:spcPct val="20000"/>
              </a:spcBef>
            </a:pPr>
            <a:r>
              <a:rPr lang="en-GB" dirty="0" smtClean="0">
                <a:latin typeface="Calibri" pitchFamily="34" charset="0"/>
                <a:cs typeface="Calibri" pitchFamily="34" charset="0"/>
              </a:rPr>
              <a:t>IT resources – TSF-Z</a:t>
            </a:r>
          </a:p>
        </p:txBody>
      </p:sp>
      <p:sp>
        <p:nvSpPr>
          <p:cNvPr id="17409" name="Subtitle 2"/>
          <p:cNvSpPr>
            <a:spLocks noGrp="1"/>
          </p:cNvSpPr>
          <p:nvPr>
            <p:ph type="subTitle" idx="1"/>
          </p:nvPr>
        </p:nvSpPr>
        <p:spPr>
          <a:xfrm>
            <a:off x="323528" y="1857364"/>
            <a:ext cx="6034422" cy="1356752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GB" sz="1800" dirty="0" smtClean="0">
                <a:latin typeface="Calibri" pitchFamily="34" charset="0"/>
                <a:cs typeface="Calibri" pitchFamily="34" charset="0"/>
              </a:rPr>
              <a:t>Javier Arregui </a:t>
            </a:r>
          </a:p>
          <a:p>
            <a:pPr>
              <a:spcBef>
                <a:spcPts val="600"/>
              </a:spcBef>
            </a:pPr>
            <a:r>
              <a:rPr lang="en-GB" sz="1800" dirty="0" smtClean="0">
                <a:latin typeface="Calibri" pitchFamily="34" charset="0"/>
                <a:cs typeface="Calibri" pitchFamily="34" charset="0"/>
              </a:rPr>
              <a:t>Director of TSF Zaragoza – Alliance Healthcare</a:t>
            </a:r>
          </a:p>
          <a:p>
            <a:pPr>
              <a:spcBef>
                <a:spcPts val="600"/>
              </a:spcBef>
            </a:pPr>
            <a:r>
              <a:rPr lang="en-GB" sz="1800" dirty="0" smtClean="0">
                <a:latin typeface="Calibri" pitchFamily="34" charset="0"/>
                <a:cs typeface="Calibri" pitchFamily="34" charset="0"/>
              </a:rPr>
              <a:t>javier.arregui@alliance-healthcare.net</a:t>
            </a:r>
          </a:p>
          <a:p>
            <a:pPr>
              <a:spcBef>
                <a:spcPts val="600"/>
              </a:spcBef>
            </a:pPr>
            <a:r>
              <a:rPr lang="en-GB" sz="1800" dirty="0" smtClean="0">
                <a:latin typeface="Calibri" pitchFamily="34" charset="0"/>
                <a:cs typeface="Calibri" pitchFamily="34" charset="0"/>
              </a:rPr>
              <a:t>27</a:t>
            </a:r>
            <a:r>
              <a:rPr lang="en-GB" sz="1800" baseline="30000" dirty="0" smtClean="0">
                <a:latin typeface="Calibri" pitchFamily="34" charset="0"/>
                <a:cs typeface="Calibri" pitchFamily="34" charset="0"/>
              </a:rPr>
              <a:t>th</a:t>
            </a:r>
            <a:r>
              <a:rPr lang="en-GB" sz="1800" dirty="0" smtClean="0">
                <a:latin typeface="Calibri" pitchFamily="34" charset="0"/>
                <a:cs typeface="Calibri" pitchFamily="34" charset="0"/>
              </a:rPr>
              <a:t> October 2014</a:t>
            </a:r>
            <a:endParaRPr lang="en-US" sz="18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076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fld id="{D8DB8AFB-5BB8-4B9D-8A56-6C453D26D2E6}" type="slidenum">
              <a:rPr lang="en-US" smtClean="0">
                <a:solidFill>
                  <a:srgbClr val="808080"/>
                </a:solidFill>
                <a:latin typeface="Calibri" pitchFamily="34" charset="0"/>
                <a:cs typeface="Calibri" pitchFamily="34" charset="0"/>
              </a:rPr>
              <a:pPr eaLnBrk="1" hangingPunct="1">
                <a:defRPr/>
              </a:pPr>
              <a:t>1</a:t>
            </a:fld>
            <a:endParaRPr lang="en-US" dirty="0" smtClean="0">
              <a:solidFill>
                <a:srgbClr val="80808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6" name="5 Imagen" descr="logo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25711" y="1554392"/>
            <a:ext cx="1952625" cy="800100"/>
          </a:xfrm>
          <a:prstGeom prst="rect">
            <a:avLst/>
          </a:prstGeom>
        </p:spPr>
      </p:pic>
      <p:pic>
        <p:nvPicPr>
          <p:cNvPr id="7" name="6 Imagen"/>
          <p:cNvPicPr/>
          <p:nvPr/>
        </p:nvPicPr>
        <p:blipFill>
          <a:blip r:embed="rId5" cstate="print">
            <a:lum bright="25000" contrast="-40000"/>
          </a:blip>
          <a:srcRect/>
          <a:stretch>
            <a:fillRect/>
          </a:stretch>
        </p:blipFill>
        <p:spPr bwMode="auto">
          <a:xfrm rot="10800000">
            <a:off x="5726404" y="1324641"/>
            <a:ext cx="886460" cy="845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1 Rectángulo"/>
          <p:cNvSpPr/>
          <p:nvPr/>
        </p:nvSpPr>
        <p:spPr>
          <a:xfrm>
            <a:off x="5135239" y="2169826"/>
            <a:ext cx="1863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b="1" dirty="0" smtClean="0">
                <a:solidFill>
                  <a:srgbClr val="FF9900"/>
                </a:solidFill>
                <a:latin typeface="Corbel" panose="020B0503020204020204" pitchFamily="34" charset="0"/>
              </a:rPr>
              <a:t>VII </a:t>
            </a:r>
            <a:r>
              <a:rPr lang="es-ES" b="1" dirty="0" err="1">
                <a:solidFill>
                  <a:srgbClr val="FF9900"/>
                </a:solidFill>
                <a:latin typeface="Corbel" panose="020B0503020204020204" pitchFamily="34" charset="0"/>
              </a:rPr>
              <a:t>ProCOM</a:t>
            </a:r>
            <a:r>
              <a:rPr lang="es-ES" b="1" dirty="0">
                <a:solidFill>
                  <a:srgbClr val="FF9900"/>
                </a:solidFill>
                <a:latin typeface="Corbel" panose="020B0503020204020204" pitchFamily="34" charset="0"/>
              </a:rPr>
              <a:t> 2014</a:t>
            </a:r>
            <a:endParaRPr lang="es-ES" dirty="0">
              <a:solidFill>
                <a:srgbClr val="FF99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8717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s-ES" sz="2400" dirty="0" smtClean="0">
                <a:latin typeface="Calibri" pitchFamily="34" charset="0"/>
                <a:cs typeface="Calibri" pitchFamily="34" charset="0"/>
              </a:rPr>
              <a:t>Key </a:t>
            </a:r>
            <a:r>
              <a:rPr lang="es-ES" sz="2400" dirty="0" err="1" smtClean="0">
                <a:latin typeface="Calibri" pitchFamily="34" charset="0"/>
                <a:cs typeface="Calibri" pitchFamily="34" charset="0"/>
              </a:rPr>
              <a:t>messages</a:t>
            </a:r>
            <a:r>
              <a:rPr lang="es-ES" sz="2400" dirty="0" smtClean="0">
                <a:latin typeface="Calibri" pitchFamily="34" charset="0"/>
                <a:cs typeface="Calibri" pitchFamily="34" charset="0"/>
              </a:rPr>
              <a:t/>
            </a:r>
            <a:br>
              <a:rPr lang="es-ES" sz="2400" dirty="0" smtClean="0">
                <a:latin typeface="Calibri" pitchFamily="34" charset="0"/>
                <a:cs typeface="Calibri" pitchFamily="34" charset="0"/>
              </a:rPr>
            </a:br>
            <a:endParaRPr lang="en-US" sz="2000" b="0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" name="13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s-ES" sz="1800" dirty="0" err="1" smtClean="0">
                <a:latin typeface="Calibri" pitchFamily="34" charset="0"/>
              </a:rPr>
              <a:t>We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only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recruit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through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our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partners</a:t>
            </a:r>
            <a:r>
              <a:rPr lang="es-ES" sz="1800" dirty="0" smtClean="0">
                <a:latin typeface="Calibri" pitchFamily="34" charset="0"/>
              </a:rPr>
              <a:t>, </a:t>
            </a:r>
            <a:r>
              <a:rPr lang="es-ES" sz="1800" dirty="0" err="1" smtClean="0">
                <a:latin typeface="Calibri" pitchFamily="34" charset="0"/>
              </a:rPr>
              <a:t>Hiberus</a:t>
            </a:r>
            <a:r>
              <a:rPr lang="es-ES" sz="1800" dirty="0" smtClean="0">
                <a:latin typeface="Calibri" pitchFamily="34" charset="0"/>
              </a:rPr>
              <a:t> and </a:t>
            </a:r>
            <a:r>
              <a:rPr lang="es-ES" sz="1800" dirty="0" err="1" smtClean="0">
                <a:latin typeface="Calibri" pitchFamily="34" charset="0"/>
              </a:rPr>
              <a:t>Keensoft</a:t>
            </a:r>
            <a:r>
              <a:rPr lang="es-ES" sz="1800" dirty="0" smtClean="0">
                <a:latin typeface="Calibri" pitchFamily="34" charset="0"/>
              </a:rPr>
              <a:t>.</a:t>
            </a:r>
          </a:p>
          <a:p>
            <a:pPr>
              <a:buFont typeface="Arial" pitchFamily="34" charset="0"/>
              <a:buChar char="•"/>
            </a:pPr>
            <a:r>
              <a:rPr lang="es-ES" sz="1800" dirty="0" err="1" smtClean="0">
                <a:latin typeface="Calibri" pitchFamily="34" charset="0"/>
              </a:rPr>
              <a:t>Strong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future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career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opportunities</a:t>
            </a:r>
            <a:r>
              <a:rPr lang="es-ES" sz="1800" dirty="0" smtClean="0">
                <a:latin typeface="Calibri" pitchFamily="34" charset="0"/>
              </a:rPr>
              <a:t>.</a:t>
            </a:r>
          </a:p>
          <a:p>
            <a:pPr>
              <a:buFont typeface="Arial" pitchFamily="34" charset="0"/>
              <a:buChar char="•"/>
            </a:pPr>
            <a:r>
              <a:rPr lang="es-ES" sz="1800" dirty="0" smtClean="0">
                <a:latin typeface="Calibri" pitchFamily="34" charset="0"/>
              </a:rPr>
              <a:t>English </a:t>
            </a:r>
            <a:r>
              <a:rPr lang="es-ES" sz="1800" dirty="0" err="1" smtClean="0">
                <a:latin typeface="Calibri" pitchFamily="34" charset="0"/>
              </a:rPr>
              <a:t>language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skills</a:t>
            </a:r>
            <a:r>
              <a:rPr lang="es-ES" sz="1800" dirty="0" smtClean="0">
                <a:latin typeface="Calibri" pitchFamily="34" charset="0"/>
              </a:rPr>
              <a:t> are </a:t>
            </a:r>
            <a:r>
              <a:rPr lang="es-ES" sz="1800" dirty="0" err="1" smtClean="0">
                <a:latin typeface="Calibri" pitchFamily="34" charset="0"/>
              </a:rPr>
              <a:t>absolutely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mandatory</a:t>
            </a:r>
            <a:r>
              <a:rPr lang="es-ES" sz="1800" dirty="0" smtClean="0">
                <a:latin typeface="Calibri" pitchFamily="34" charset="0"/>
              </a:rPr>
              <a:t>. </a:t>
            </a:r>
            <a:r>
              <a:rPr lang="es-ES" sz="1800" dirty="0" err="1" smtClean="0">
                <a:latin typeface="Calibri" pitchFamily="34" charset="0"/>
              </a:rPr>
              <a:t>We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work</a:t>
            </a:r>
            <a:r>
              <a:rPr lang="es-ES" sz="1800" dirty="0" smtClean="0">
                <a:latin typeface="Calibri" pitchFamily="34" charset="0"/>
              </a:rPr>
              <a:t> in a </a:t>
            </a:r>
            <a:r>
              <a:rPr lang="es-ES" sz="1800" dirty="0" err="1" smtClean="0">
                <a:latin typeface="Calibri" pitchFamily="34" charset="0"/>
              </a:rPr>
              <a:t>trully</a:t>
            </a:r>
            <a:r>
              <a:rPr lang="es-ES" sz="1800" dirty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international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environment</a:t>
            </a:r>
            <a:r>
              <a:rPr lang="es-ES" sz="1800" dirty="0" smtClean="0">
                <a:latin typeface="Calibri" pitchFamily="34" charset="0"/>
              </a:rPr>
              <a:t>.</a:t>
            </a:r>
          </a:p>
          <a:p>
            <a:pPr>
              <a:buFont typeface="Arial" pitchFamily="34" charset="0"/>
              <a:buChar char="•"/>
            </a:pPr>
            <a:r>
              <a:rPr lang="es-ES" sz="1800" dirty="0" smtClean="0">
                <a:latin typeface="Calibri" pitchFamily="34" charset="0"/>
              </a:rPr>
              <a:t>Technologies </a:t>
            </a:r>
            <a:r>
              <a:rPr lang="es-ES" sz="1800" dirty="0" err="1" smtClean="0">
                <a:latin typeface="Calibri" pitchFamily="34" charset="0"/>
              </a:rPr>
              <a:t>we’re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interested</a:t>
            </a:r>
            <a:r>
              <a:rPr lang="es-ES" sz="1800" dirty="0" smtClean="0">
                <a:latin typeface="Calibri" pitchFamily="34" charset="0"/>
              </a:rPr>
              <a:t> in, </a:t>
            </a:r>
            <a:r>
              <a:rPr lang="es-ES" sz="1800" dirty="0" err="1" smtClean="0">
                <a:latin typeface="Calibri" pitchFamily="34" charset="0"/>
              </a:rPr>
              <a:t>split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into</a:t>
            </a:r>
            <a:r>
              <a:rPr lang="es-ES" sz="1800" dirty="0" smtClean="0">
                <a:latin typeface="Calibri" pitchFamily="34" charset="0"/>
              </a:rPr>
              <a:t> “</a:t>
            </a:r>
            <a:r>
              <a:rPr lang="es-ES" sz="1800" dirty="0" err="1" smtClean="0">
                <a:latin typeface="Calibri" pitchFamily="34" charset="0"/>
              </a:rPr>
              <a:t>stable</a:t>
            </a:r>
            <a:r>
              <a:rPr lang="es-ES" sz="1800" dirty="0" smtClean="0">
                <a:latin typeface="Calibri" pitchFamily="34" charset="0"/>
              </a:rPr>
              <a:t>” and “</a:t>
            </a:r>
            <a:r>
              <a:rPr lang="es-ES" sz="1800" dirty="0" err="1" smtClean="0">
                <a:latin typeface="Calibri" pitchFamily="34" charset="0"/>
              </a:rPr>
              <a:t>quickly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evolving</a:t>
            </a:r>
            <a:r>
              <a:rPr lang="es-ES" sz="1800" dirty="0" smtClean="0">
                <a:latin typeface="Calibri" pitchFamily="34" charset="0"/>
              </a:rPr>
              <a:t>”.</a:t>
            </a:r>
          </a:p>
          <a:p>
            <a:pPr marL="717550" lvl="1" indent="-358775">
              <a:buFont typeface="Wingdings" panose="05000000000000000000" pitchFamily="2" charset="2"/>
              <a:buChar char="Ø"/>
            </a:pPr>
            <a:r>
              <a:rPr lang="es-ES" sz="1800" dirty="0" err="1" smtClean="0">
                <a:latin typeface="Calibri" pitchFamily="34" charset="0"/>
              </a:rPr>
              <a:t>Stable</a:t>
            </a:r>
            <a:r>
              <a:rPr lang="es-ES" sz="1800" dirty="0" smtClean="0">
                <a:latin typeface="Calibri" pitchFamily="34" charset="0"/>
              </a:rPr>
              <a:t>:</a:t>
            </a:r>
          </a:p>
          <a:p>
            <a:pPr marL="1085850" lvl="2" indent="-358775">
              <a:buFont typeface="Wingdings" panose="05000000000000000000" pitchFamily="2" charset="2"/>
              <a:buChar char="v"/>
            </a:pPr>
            <a:r>
              <a:rPr lang="es-ES" sz="1400" dirty="0" smtClean="0">
                <a:latin typeface="Calibri" pitchFamily="34" charset="0"/>
              </a:rPr>
              <a:t>Software AG</a:t>
            </a:r>
          </a:p>
          <a:p>
            <a:pPr marL="1085850" lvl="2" indent="-358775">
              <a:buFont typeface="Wingdings" panose="05000000000000000000" pitchFamily="2" charset="2"/>
              <a:buChar char="v"/>
            </a:pPr>
            <a:r>
              <a:rPr lang="es-ES" sz="1400" dirty="0" err="1" smtClean="0">
                <a:latin typeface="Calibri" pitchFamily="34" charset="0"/>
              </a:rPr>
              <a:t>QlikView</a:t>
            </a:r>
            <a:endParaRPr lang="es-ES" sz="1400" dirty="0" smtClean="0">
              <a:latin typeface="Calibri" pitchFamily="34" charset="0"/>
            </a:endParaRPr>
          </a:p>
          <a:p>
            <a:pPr marL="1085850" lvl="2" indent="-358775">
              <a:buFont typeface="Wingdings" panose="05000000000000000000" pitchFamily="2" charset="2"/>
              <a:buChar char="v"/>
            </a:pPr>
            <a:r>
              <a:rPr lang="es-ES" sz="1400" dirty="0" err="1" smtClean="0">
                <a:latin typeface="Calibri" pitchFamily="34" charset="0"/>
              </a:rPr>
              <a:t>Liferay</a:t>
            </a:r>
            <a:endParaRPr lang="es-ES" sz="1400" dirty="0" smtClean="0">
              <a:latin typeface="Calibri" pitchFamily="34" charset="0"/>
            </a:endParaRPr>
          </a:p>
          <a:p>
            <a:pPr marL="1085850" lvl="2" indent="-358775">
              <a:buFont typeface="Wingdings" panose="05000000000000000000" pitchFamily="2" charset="2"/>
              <a:buChar char="v"/>
            </a:pPr>
            <a:r>
              <a:rPr lang="es-ES" sz="1400" dirty="0" err="1" smtClean="0">
                <a:latin typeface="Calibri" pitchFamily="34" charset="0"/>
              </a:rPr>
              <a:t>Magento</a:t>
            </a:r>
            <a:endParaRPr lang="es-ES" sz="1400" dirty="0" smtClean="0">
              <a:latin typeface="Calibri" pitchFamily="34" charset="0"/>
            </a:endParaRPr>
          </a:p>
          <a:p>
            <a:pPr marL="717550" lvl="1" indent="-358775">
              <a:buFont typeface="Wingdings" panose="05000000000000000000" pitchFamily="2" charset="2"/>
              <a:buChar char="Ø"/>
            </a:pPr>
            <a:r>
              <a:rPr lang="es-ES" sz="1800" dirty="0" err="1" smtClean="0">
                <a:latin typeface="Calibri" pitchFamily="34" charset="0"/>
              </a:rPr>
              <a:t>Quickly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evolving</a:t>
            </a:r>
            <a:r>
              <a:rPr lang="es-ES" sz="1800" dirty="0" smtClean="0">
                <a:latin typeface="Calibri" pitchFamily="34" charset="0"/>
              </a:rPr>
              <a:t>:</a:t>
            </a:r>
          </a:p>
          <a:p>
            <a:pPr marL="1085850" lvl="2" indent="-358775">
              <a:buFont typeface="Wingdings" panose="05000000000000000000" pitchFamily="2" charset="2"/>
              <a:buChar char="Ø"/>
            </a:pPr>
            <a:r>
              <a:rPr lang="es-ES" sz="1400" dirty="0" err="1" smtClean="0">
                <a:latin typeface="Calibri" pitchFamily="34" charset="0"/>
              </a:rPr>
              <a:t>AngularJS</a:t>
            </a:r>
            <a:endParaRPr lang="es-ES" sz="1400" dirty="0" smtClean="0">
              <a:latin typeface="Calibri" pitchFamily="34" charset="0"/>
            </a:endParaRPr>
          </a:p>
          <a:p>
            <a:pPr marL="1085850" lvl="2" indent="-358775">
              <a:buFont typeface="Wingdings" panose="05000000000000000000" pitchFamily="2" charset="2"/>
              <a:buChar char="Ø"/>
            </a:pPr>
            <a:r>
              <a:rPr lang="es-ES" sz="1400" dirty="0" smtClean="0">
                <a:latin typeface="Calibri" pitchFamily="34" charset="0"/>
              </a:rPr>
              <a:t>Ionic.js</a:t>
            </a:r>
          </a:p>
          <a:p>
            <a:pPr marL="1085850" lvl="2" indent="-358775">
              <a:buFont typeface="Wingdings" panose="05000000000000000000" pitchFamily="2" charset="2"/>
              <a:buChar char="Ø"/>
            </a:pPr>
            <a:r>
              <a:rPr lang="es-ES" sz="1400" dirty="0" smtClean="0">
                <a:latin typeface="Calibri" pitchFamily="34" charset="0"/>
              </a:rPr>
              <a:t>Node.js</a:t>
            </a:r>
          </a:p>
          <a:p>
            <a:pPr marL="1085850" lvl="2" indent="-358775">
              <a:buFont typeface="Wingdings" panose="05000000000000000000" pitchFamily="2" charset="2"/>
              <a:buChar char="Ø"/>
            </a:pPr>
            <a:r>
              <a:rPr lang="es-ES" sz="1400" dirty="0" smtClean="0">
                <a:latin typeface="Calibri" pitchFamily="34" charset="0"/>
              </a:rPr>
              <a:t>Tools </a:t>
            </a:r>
            <a:r>
              <a:rPr lang="es-ES" sz="1400" dirty="0" err="1" smtClean="0">
                <a:latin typeface="Calibri" pitchFamily="34" charset="0"/>
              </a:rPr>
              <a:t>like</a:t>
            </a:r>
            <a:r>
              <a:rPr lang="es-ES" sz="1400" dirty="0" smtClean="0">
                <a:latin typeface="Calibri" pitchFamily="34" charset="0"/>
              </a:rPr>
              <a:t> </a:t>
            </a:r>
            <a:r>
              <a:rPr lang="es-ES" sz="1400" dirty="0" err="1" smtClean="0">
                <a:latin typeface="Calibri" pitchFamily="34" charset="0"/>
              </a:rPr>
              <a:t>git</a:t>
            </a:r>
            <a:r>
              <a:rPr lang="es-ES" sz="1400" dirty="0" smtClean="0">
                <a:latin typeface="Calibri" pitchFamily="34" charset="0"/>
              </a:rPr>
              <a:t>, </a:t>
            </a:r>
            <a:r>
              <a:rPr lang="es-ES" sz="1400" dirty="0" err="1" smtClean="0">
                <a:latin typeface="Calibri" pitchFamily="34" charset="0"/>
              </a:rPr>
              <a:t>bower</a:t>
            </a:r>
            <a:r>
              <a:rPr lang="es-ES" sz="1400" dirty="0" smtClean="0">
                <a:latin typeface="Calibri" pitchFamily="34" charset="0"/>
              </a:rPr>
              <a:t>, </a:t>
            </a:r>
            <a:r>
              <a:rPr lang="es-ES" sz="1400" dirty="0" err="1" smtClean="0">
                <a:latin typeface="Calibri" pitchFamily="34" charset="0"/>
              </a:rPr>
              <a:t>grunt</a:t>
            </a:r>
            <a:r>
              <a:rPr lang="es-ES" sz="1400" dirty="0" smtClean="0">
                <a:latin typeface="Calibri" pitchFamily="34" charset="0"/>
              </a:rPr>
              <a:t>…</a:t>
            </a:r>
          </a:p>
          <a:p>
            <a:pPr marL="1085850" lvl="2" indent="-358775">
              <a:buFont typeface="Wingdings" panose="05000000000000000000" pitchFamily="2" charset="2"/>
              <a:buChar char="Ø"/>
            </a:pPr>
            <a:r>
              <a:rPr lang="es-ES" sz="1400" dirty="0" err="1" smtClean="0">
                <a:latin typeface="Calibri" pitchFamily="34" charset="0"/>
              </a:rPr>
              <a:t>NoSQL</a:t>
            </a:r>
            <a:endParaRPr lang="es-ES" sz="1400" dirty="0" smtClean="0">
              <a:latin typeface="Calibri" pitchFamily="34" charset="0"/>
            </a:endParaRPr>
          </a:p>
          <a:p>
            <a:pPr marL="1085850" lvl="2" indent="-358775">
              <a:buFont typeface="Wingdings" panose="05000000000000000000" pitchFamily="2" charset="2"/>
              <a:buChar char="Ø"/>
            </a:pPr>
            <a:r>
              <a:rPr lang="es-ES" sz="1400" dirty="0" err="1" smtClean="0">
                <a:latin typeface="Calibri" pitchFamily="34" charset="0"/>
              </a:rPr>
              <a:t>For</a:t>
            </a:r>
            <a:r>
              <a:rPr lang="es-ES" sz="1400" dirty="0" smtClean="0">
                <a:latin typeface="Calibri" pitchFamily="34" charset="0"/>
              </a:rPr>
              <a:t> </a:t>
            </a:r>
            <a:r>
              <a:rPr lang="es-ES" sz="1400" dirty="0" err="1" smtClean="0">
                <a:latin typeface="Calibri" pitchFamily="34" charset="0"/>
              </a:rPr>
              <a:t>these</a:t>
            </a:r>
            <a:r>
              <a:rPr lang="es-ES" sz="1400" dirty="0" smtClean="0">
                <a:latin typeface="Calibri" pitchFamily="34" charset="0"/>
              </a:rPr>
              <a:t>, ideal </a:t>
            </a:r>
            <a:r>
              <a:rPr lang="es-ES" sz="1400" dirty="0" err="1" smtClean="0">
                <a:latin typeface="Calibri" pitchFamily="34" charset="0"/>
              </a:rPr>
              <a:t>profile</a:t>
            </a:r>
            <a:r>
              <a:rPr lang="es-ES" sz="1400" dirty="0" smtClean="0">
                <a:latin typeface="Calibri" pitchFamily="34" charset="0"/>
              </a:rPr>
              <a:t> </a:t>
            </a:r>
            <a:r>
              <a:rPr lang="es-ES" sz="1400" dirty="0" err="1" smtClean="0">
                <a:latin typeface="Calibri" pitchFamily="34" charset="0"/>
              </a:rPr>
              <a:t>would</a:t>
            </a:r>
            <a:r>
              <a:rPr lang="es-ES" sz="1400" dirty="0" smtClean="0">
                <a:latin typeface="Calibri" pitchFamily="34" charset="0"/>
              </a:rPr>
              <a:t> be a </a:t>
            </a:r>
            <a:r>
              <a:rPr lang="es-ES" sz="1400" dirty="0" err="1" smtClean="0">
                <a:latin typeface="Calibri" pitchFamily="34" charset="0"/>
              </a:rPr>
              <a:t>person</a:t>
            </a:r>
            <a:r>
              <a:rPr lang="es-ES" sz="1400" dirty="0" smtClean="0">
                <a:latin typeface="Calibri" pitchFamily="34" charset="0"/>
              </a:rPr>
              <a:t> </a:t>
            </a:r>
            <a:r>
              <a:rPr lang="es-ES" sz="1400" dirty="0" err="1" smtClean="0">
                <a:latin typeface="Calibri" pitchFamily="34" charset="0"/>
              </a:rPr>
              <a:t>with</a:t>
            </a:r>
            <a:r>
              <a:rPr lang="es-ES" sz="1400" dirty="0" smtClean="0">
                <a:latin typeface="Calibri" pitchFamily="34" charset="0"/>
              </a:rPr>
              <a:t> </a:t>
            </a:r>
            <a:r>
              <a:rPr lang="es-ES" sz="1400" dirty="0" err="1" smtClean="0">
                <a:latin typeface="Calibri" pitchFamily="34" charset="0"/>
              </a:rPr>
              <a:t>proven</a:t>
            </a:r>
            <a:r>
              <a:rPr lang="es-ES" sz="1400" dirty="0" smtClean="0">
                <a:latin typeface="Calibri" pitchFamily="34" charset="0"/>
              </a:rPr>
              <a:t> </a:t>
            </a:r>
            <a:r>
              <a:rPr lang="es-ES" sz="1400" dirty="0" err="1" smtClean="0">
                <a:latin typeface="Calibri" pitchFamily="34" charset="0"/>
              </a:rPr>
              <a:t>experience</a:t>
            </a:r>
            <a:r>
              <a:rPr lang="es-ES" sz="1400" dirty="0" smtClean="0">
                <a:latin typeface="Calibri" pitchFamily="34" charset="0"/>
              </a:rPr>
              <a:t> </a:t>
            </a:r>
            <a:r>
              <a:rPr lang="es-ES" sz="1400" dirty="0" err="1" smtClean="0">
                <a:latin typeface="Calibri" pitchFamily="34" charset="0"/>
              </a:rPr>
              <a:t>collaborating</a:t>
            </a:r>
            <a:r>
              <a:rPr lang="es-ES" sz="1400" dirty="0" smtClean="0">
                <a:latin typeface="Calibri" pitchFamily="34" charset="0"/>
              </a:rPr>
              <a:t> in open </a:t>
            </a:r>
            <a:r>
              <a:rPr lang="es-ES" sz="1400" dirty="0" err="1" smtClean="0">
                <a:latin typeface="Calibri" pitchFamily="34" charset="0"/>
              </a:rPr>
              <a:t>source</a:t>
            </a:r>
            <a:r>
              <a:rPr lang="es-ES" sz="1400" dirty="0" smtClean="0">
                <a:latin typeface="Calibri" pitchFamily="34" charset="0"/>
              </a:rPr>
              <a:t> </a:t>
            </a:r>
            <a:r>
              <a:rPr lang="es-ES" sz="1400" dirty="0" err="1" smtClean="0">
                <a:latin typeface="Calibri" pitchFamily="34" charset="0"/>
              </a:rPr>
              <a:t>projects</a:t>
            </a:r>
            <a:r>
              <a:rPr lang="es-ES" sz="1400" dirty="0" smtClean="0">
                <a:latin typeface="Calibri" pitchFamily="34" charset="0"/>
              </a:rPr>
              <a:t> in </a:t>
            </a:r>
            <a:r>
              <a:rPr lang="es-ES" sz="1400" dirty="0" err="1" smtClean="0">
                <a:latin typeface="Calibri" pitchFamily="34" charset="0"/>
              </a:rPr>
              <a:t>github</a:t>
            </a:r>
            <a:r>
              <a:rPr lang="es-ES" sz="1400" dirty="0" smtClean="0">
                <a:latin typeface="Calibri" pitchFamily="34" charset="0"/>
              </a:rPr>
              <a:t>, </a:t>
            </a:r>
            <a:r>
              <a:rPr lang="es-ES" sz="1400" dirty="0" err="1" smtClean="0">
                <a:latin typeface="Calibri" pitchFamily="34" charset="0"/>
              </a:rPr>
              <a:t>profficient</a:t>
            </a:r>
            <a:r>
              <a:rPr lang="es-ES" sz="1400" dirty="0" smtClean="0">
                <a:latin typeface="Calibri" pitchFamily="34" charset="0"/>
              </a:rPr>
              <a:t> in </a:t>
            </a:r>
            <a:r>
              <a:rPr lang="es-ES" sz="1400" dirty="0" err="1" smtClean="0">
                <a:latin typeface="Calibri" pitchFamily="34" charset="0"/>
              </a:rPr>
              <a:t>Javascript</a:t>
            </a:r>
            <a:r>
              <a:rPr lang="es-ES" sz="1400" dirty="0" smtClean="0">
                <a:latin typeface="Calibri" pitchFamily="34" charset="0"/>
              </a:rPr>
              <a:t> and </a:t>
            </a:r>
            <a:r>
              <a:rPr lang="es-ES" sz="1400" dirty="0" err="1" smtClean="0">
                <a:latin typeface="Calibri" pitchFamily="34" charset="0"/>
              </a:rPr>
              <a:t>distributed</a:t>
            </a:r>
            <a:r>
              <a:rPr lang="es-ES" sz="1400" dirty="0" smtClean="0">
                <a:latin typeface="Calibri" pitchFamily="34" charset="0"/>
              </a:rPr>
              <a:t> </a:t>
            </a:r>
            <a:r>
              <a:rPr lang="es-ES" sz="1400" dirty="0" err="1" smtClean="0">
                <a:latin typeface="Calibri" pitchFamily="34" charset="0"/>
              </a:rPr>
              <a:t>team</a:t>
            </a:r>
            <a:r>
              <a:rPr lang="es-ES" sz="1400" dirty="0" smtClean="0">
                <a:latin typeface="Calibri" pitchFamily="34" charset="0"/>
              </a:rPr>
              <a:t> </a:t>
            </a:r>
            <a:r>
              <a:rPr lang="es-ES" sz="1400" dirty="0" err="1" smtClean="0">
                <a:latin typeface="Calibri" pitchFamily="34" charset="0"/>
              </a:rPr>
              <a:t>work</a:t>
            </a:r>
            <a:r>
              <a:rPr lang="es-ES" sz="1400" dirty="0" smtClean="0">
                <a:latin typeface="Calibri" pitchFamily="34" charset="0"/>
              </a:rPr>
              <a:t>.</a:t>
            </a:r>
            <a:endParaRPr lang="es-ES" sz="1800" dirty="0">
              <a:latin typeface="Calibri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 smtClean="0">
              <a:latin typeface="Calibri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 smtClean="0">
              <a:latin typeface="Calibri" pitchFamily="34" charset="0"/>
            </a:endParaRPr>
          </a:p>
          <a:p>
            <a:pPr marL="717550" lvl="1" indent="-358775">
              <a:buFont typeface="Wingdings" panose="05000000000000000000" pitchFamily="2" charset="2"/>
              <a:buChar char="Ø"/>
            </a:pPr>
            <a:endParaRPr lang="es-ES" sz="1800" dirty="0" smtClean="0">
              <a:latin typeface="Calibri" pitchFamily="34" charset="0"/>
            </a:endParaRPr>
          </a:p>
          <a:p>
            <a:pPr marL="704850" indent="-358775">
              <a:buFont typeface="Wingdings" panose="05000000000000000000" pitchFamily="2" charset="2"/>
              <a:buChar char="Ø"/>
            </a:pPr>
            <a:endParaRPr lang="es-ES" sz="1800" dirty="0" smtClean="0">
              <a:latin typeface="Calibri" pitchFamily="34" charset="0"/>
            </a:endParaRPr>
          </a:p>
          <a:p>
            <a:pPr marL="698500" lvl="3" indent="-342900">
              <a:buFont typeface="Wingdings" pitchFamily="2" charset="2"/>
              <a:buChar char="Ø"/>
            </a:pPr>
            <a:endParaRPr lang="es-ES" dirty="0" smtClean="0">
              <a:latin typeface="Calibri" pitchFamily="34" charset="0"/>
            </a:endParaRPr>
          </a:p>
          <a:p>
            <a:pPr marL="354013" indent="-354013">
              <a:buFont typeface="Arial" pitchFamily="34" charset="0"/>
              <a:buChar char="•"/>
            </a:pPr>
            <a:endParaRPr lang="es-ES" sz="1800" dirty="0" smtClean="0">
              <a:latin typeface="Calibri" pitchFamily="34" charset="0"/>
            </a:endParaRPr>
          </a:p>
          <a:p>
            <a:pPr marL="354013" indent="-354013">
              <a:buFont typeface="Arial" pitchFamily="34" charset="0"/>
              <a:buChar char="•"/>
            </a:pPr>
            <a:endParaRPr lang="es-ES" sz="1800" dirty="0">
              <a:latin typeface="Calibri" pitchFamily="34" charset="0"/>
            </a:endParaRP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369FCE-4CD6-4DF2-8D2C-A84955C4D786}" type="slidenum">
              <a:rPr lang="en-GB" smtClean="0">
                <a:solidFill>
                  <a:srgbClr val="808080"/>
                </a:solidFill>
                <a:latin typeface="Calibri" pitchFamily="34" charset="0"/>
                <a:cs typeface="Calibri" pitchFamily="34" charset="0"/>
              </a:rPr>
              <a:pPr>
                <a:defRPr/>
              </a:pPr>
              <a:t>10</a:t>
            </a:fld>
            <a:endParaRPr lang="en-GB">
              <a:solidFill>
                <a:srgbClr val="80808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5455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14282" y="3071810"/>
            <a:ext cx="8601075" cy="1027105"/>
          </a:xfrm>
        </p:spPr>
        <p:txBody>
          <a:bodyPr/>
          <a:lstStyle/>
          <a:p>
            <a:pPr algn="ctr"/>
            <a:r>
              <a:rPr lang="es-ES" sz="1600" dirty="0" err="1" smtClean="0">
                <a:latin typeface="Calibri" pitchFamily="34" charset="0"/>
              </a:rPr>
              <a:t>Happy</a:t>
            </a:r>
            <a:r>
              <a:rPr lang="es-ES" sz="1600" dirty="0" smtClean="0">
                <a:latin typeface="Calibri" pitchFamily="34" charset="0"/>
              </a:rPr>
              <a:t> </a:t>
            </a:r>
            <a:r>
              <a:rPr lang="es-ES" sz="1600" dirty="0" err="1" smtClean="0">
                <a:latin typeface="Calibri" pitchFamily="34" charset="0"/>
              </a:rPr>
              <a:t>to</a:t>
            </a:r>
            <a:r>
              <a:rPr lang="es-ES" sz="1600" dirty="0" smtClean="0">
                <a:latin typeface="Calibri" pitchFamily="34" charset="0"/>
              </a:rPr>
              <a:t> </a:t>
            </a:r>
            <a:r>
              <a:rPr lang="es-ES" sz="1600" dirty="0" err="1" smtClean="0">
                <a:latin typeface="Calibri" pitchFamily="34" charset="0"/>
              </a:rPr>
              <a:t>answer</a:t>
            </a:r>
            <a:r>
              <a:rPr lang="es-ES" sz="1600" dirty="0" smtClean="0">
                <a:latin typeface="Calibri" pitchFamily="34" charset="0"/>
              </a:rPr>
              <a:t> </a:t>
            </a:r>
            <a:r>
              <a:rPr lang="es-ES" sz="1600" dirty="0" err="1" smtClean="0">
                <a:latin typeface="Calibri" pitchFamily="34" charset="0"/>
              </a:rPr>
              <a:t>any</a:t>
            </a:r>
            <a:r>
              <a:rPr lang="es-ES" sz="1600" dirty="0" smtClean="0">
                <a:latin typeface="Calibri" pitchFamily="34" charset="0"/>
              </a:rPr>
              <a:t> </a:t>
            </a:r>
            <a:r>
              <a:rPr lang="es-ES" sz="1600" dirty="0" err="1" smtClean="0">
                <a:latin typeface="Calibri" pitchFamily="34" charset="0"/>
              </a:rPr>
              <a:t>question</a:t>
            </a:r>
            <a:r>
              <a:rPr lang="es-ES" sz="1600" dirty="0" smtClean="0">
                <a:latin typeface="Calibri" pitchFamily="34" charset="0"/>
              </a:rPr>
              <a:t> at javier.arregui@alliance-healthcare.net</a:t>
            </a:r>
          </a:p>
          <a:p>
            <a:pPr algn="ctr"/>
            <a:r>
              <a:rPr lang="es-ES" sz="5400" dirty="0" err="1" smtClean="0">
                <a:latin typeface="Calibri" pitchFamily="34" charset="0"/>
              </a:rPr>
              <a:t>Thanks</a:t>
            </a:r>
            <a:r>
              <a:rPr lang="es-ES" sz="5400" dirty="0" smtClean="0">
                <a:latin typeface="Calibri" pitchFamily="34" charset="0"/>
              </a:rPr>
              <a:t>!</a:t>
            </a:r>
            <a:endParaRPr lang="es-ES" sz="5400" dirty="0">
              <a:latin typeface="Calibri" pitchFamily="34" charset="0"/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D466CC5-8C48-4040-981F-DC0C054CB63E}" type="slidenum">
              <a:rPr lang="en-GB" smtClean="0">
                <a:solidFill>
                  <a:srgbClr val="808080"/>
                </a:solidFill>
              </a:rPr>
              <a:pPr>
                <a:defRPr/>
              </a:pPr>
              <a:t>11</a:t>
            </a:fld>
            <a:endParaRPr lang="en-GB">
              <a:solidFill>
                <a:srgbClr val="80808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14282" y="2924944"/>
            <a:ext cx="8601075" cy="1149278"/>
          </a:xfrm>
        </p:spPr>
        <p:txBody>
          <a:bodyPr/>
          <a:lstStyle/>
          <a:p>
            <a:pPr algn="ctr"/>
            <a:r>
              <a:rPr lang="es-ES" sz="3600" b="1" dirty="0" err="1" smtClean="0">
                <a:latin typeface="Calibri" pitchFamily="34" charset="0"/>
              </a:rPr>
              <a:t>Who</a:t>
            </a:r>
            <a:r>
              <a:rPr lang="es-ES" sz="3600" b="1" dirty="0" smtClean="0">
                <a:latin typeface="Calibri" pitchFamily="34" charset="0"/>
              </a:rPr>
              <a:t> </a:t>
            </a:r>
            <a:r>
              <a:rPr lang="es-ES" sz="3600" b="1" dirty="0" err="1" smtClean="0">
                <a:latin typeface="Calibri" pitchFamily="34" charset="0"/>
              </a:rPr>
              <a:t>we</a:t>
            </a:r>
            <a:r>
              <a:rPr lang="es-ES" sz="3600" b="1" dirty="0" smtClean="0">
                <a:latin typeface="Calibri" pitchFamily="34" charset="0"/>
              </a:rPr>
              <a:t> are?</a:t>
            </a:r>
          </a:p>
          <a:p>
            <a:pPr algn="ctr"/>
            <a:r>
              <a:rPr lang="es-ES" sz="3600" b="1" dirty="0" smtClean="0">
                <a:latin typeface="Calibri" pitchFamily="34" charset="0"/>
              </a:rPr>
              <a:t>I </a:t>
            </a:r>
            <a:r>
              <a:rPr lang="es-ES" sz="3600" b="1" dirty="0" err="1" smtClean="0">
                <a:latin typeface="Calibri" pitchFamily="34" charset="0"/>
              </a:rPr>
              <a:t>promise</a:t>
            </a:r>
            <a:r>
              <a:rPr lang="es-ES" sz="3600" b="1" dirty="0" smtClean="0">
                <a:latin typeface="Calibri" pitchFamily="34" charset="0"/>
              </a:rPr>
              <a:t> </a:t>
            </a:r>
            <a:r>
              <a:rPr lang="es-ES" sz="3600" b="1" dirty="0" err="1" smtClean="0">
                <a:latin typeface="Calibri" pitchFamily="34" charset="0"/>
              </a:rPr>
              <a:t>to</a:t>
            </a:r>
            <a:r>
              <a:rPr lang="es-ES" sz="3600" b="1" dirty="0" smtClean="0">
                <a:latin typeface="Calibri" pitchFamily="34" charset="0"/>
              </a:rPr>
              <a:t> be </a:t>
            </a:r>
            <a:r>
              <a:rPr lang="es-ES" sz="3600" b="1" dirty="0" err="1" smtClean="0">
                <a:latin typeface="Calibri" pitchFamily="34" charset="0"/>
              </a:rPr>
              <a:t>fast</a:t>
            </a:r>
            <a:r>
              <a:rPr lang="es-ES" sz="3600" b="1" dirty="0" smtClean="0">
                <a:latin typeface="Calibri" pitchFamily="34" charset="0"/>
              </a:rPr>
              <a:t>!</a:t>
            </a:r>
            <a:endParaRPr lang="es-ES" sz="3600" b="1" dirty="0">
              <a:latin typeface="Calibri" pitchFamily="34" charset="0"/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D466CC5-8C48-4040-981F-DC0C054CB63E}" type="slidenum">
              <a:rPr lang="en-GB" smtClean="0">
                <a:solidFill>
                  <a:srgbClr val="808080"/>
                </a:solidFill>
              </a:rPr>
              <a:pPr>
                <a:defRPr/>
              </a:pPr>
              <a:t>2</a:t>
            </a:fld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896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s-ES" sz="2400" dirty="0" err="1" smtClean="0">
                <a:latin typeface="Calibri" pitchFamily="34" charset="0"/>
                <a:cs typeface="Calibri" pitchFamily="34" charset="0"/>
              </a:rPr>
              <a:t>Who</a:t>
            </a:r>
            <a:r>
              <a:rPr lang="es-ES" sz="24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s-ES" sz="2400" dirty="0" err="1" smtClean="0">
                <a:latin typeface="Calibri" pitchFamily="34" charset="0"/>
                <a:cs typeface="Calibri" pitchFamily="34" charset="0"/>
              </a:rPr>
              <a:t>we</a:t>
            </a:r>
            <a:r>
              <a:rPr lang="es-ES" sz="2400" dirty="0" smtClean="0">
                <a:latin typeface="Calibri" pitchFamily="34" charset="0"/>
                <a:cs typeface="Calibri" pitchFamily="34" charset="0"/>
              </a:rPr>
              <a:t> are?</a:t>
            </a:r>
            <a:br>
              <a:rPr lang="es-ES" sz="2400" dirty="0" smtClean="0">
                <a:latin typeface="Calibri" pitchFamily="34" charset="0"/>
                <a:cs typeface="Calibri" pitchFamily="34" charset="0"/>
              </a:rPr>
            </a:br>
            <a:r>
              <a:rPr lang="es-ES" sz="2000" dirty="0" err="1" smtClean="0">
                <a:latin typeface="Calibri" pitchFamily="34" charset="0"/>
                <a:cs typeface="Calibri" pitchFamily="34" charset="0"/>
              </a:rPr>
              <a:t>Simplification</a:t>
            </a:r>
            <a:r>
              <a:rPr lang="es-ES" sz="2000" dirty="0" smtClean="0">
                <a:latin typeface="Calibri" pitchFamily="34" charset="0"/>
                <a:cs typeface="Calibri" pitchFamily="34" charset="0"/>
              </a:rPr>
              <a:t> – </a:t>
            </a:r>
            <a:r>
              <a:rPr lang="es-ES" sz="2000" dirty="0" err="1" smtClean="0">
                <a:latin typeface="Calibri" pitchFamily="34" charset="0"/>
                <a:cs typeface="Calibri" pitchFamily="34" charset="0"/>
              </a:rPr>
              <a:t>not</a:t>
            </a:r>
            <a:r>
              <a:rPr lang="es-ES" sz="20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s-ES" sz="2000" dirty="0" err="1" smtClean="0">
                <a:latin typeface="Calibri" pitchFamily="34" charset="0"/>
                <a:cs typeface="Calibri" pitchFamily="34" charset="0"/>
              </a:rPr>
              <a:t>official</a:t>
            </a:r>
            <a:r>
              <a:rPr lang="es-ES" sz="2000" dirty="0" smtClean="0">
                <a:latin typeface="Calibri" pitchFamily="34" charset="0"/>
                <a:cs typeface="Calibri" pitchFamily="34" charset="0"/>
              </a:rPr>
              <a:t>!</a:t>
            </a:r>
            <a:endParaRPr lang="en-US" sz="2000" b="0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" name="13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s-ES" sz="1800" dirty="0" smtClean="0">
                <a:latin typeface="Calibri" pitchFamily="34" charset="0"/>
              </a:rPr>
              <a:t>Old “</a:t>
            </a:r>
            <a:r>
              <a:rPr lang="es-ES" sz="1800" dirty="0" err="1" smtClean="0">
                <a:latin typeface="Calibri" pitchFamily="34" charset="0"/>
              </a:rPr>
              <a:t>Safa</a:t>
            </a:r>
            <a:r>
              <a:rPr lang="es-ES" sz="1800" dirty="0" smtClean="0">
                <a:latin typeface="Calibri" pitchFamily="34" charset="0"/>
              </a:rPr>
              <a:t> Galénica”, </a:t>
            </a:r>
            <a:r>
              <a:rPr lang="es-ES" sz="1800" dirty="0" err="1" smtClean="0">
                <a:latin typeface="Calibri" pitchFamily="34" charset="0"/>
              </a:rPr>
              <a:t>based</a:t>
            </a:r>
            <a:r>
              <a:rPr lang="es-ES" sz="1800" dirty="0" smtClean="0">
                <a:latin typeface="Calibri" pitchFamily="34" charset="0"/>
              </a:rPr>
              <a:t> in Zaragoza, </a:t>
            </a:r>
            <a:r>
              <a:rPr lang="es-ES" sz="1800" dirty="0" err="1" smtClean="0">
                <a:latin typeface="Calibri" pitchFamily="34" charset="0"/>
              </a:rPr>
              <a:t>was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part</a:t>
            </a:r>
            <a:r>
              <a:rPr lang="es-ES" sz="1800" dirty="0" smtClean="0">
                <a:latin typeface="Calibri" pitchFamily="34" charset="0"/>
              </a:rPr>
              <a:t> of “Grupo </a:t>
            </a:r>
            <a:r>
              <a:rPr lang="es-ES" sz="1800" dirty="0" err="1" smtClean="0">
                <a:latin typeface="Calibri" pitchFamily="34" charset="0"/>
              </a:rPr>
              <a:t>Safa</a:t>
            </a:r>
            <a:r>
              <a:rPr lang="es-ES" sz="1800" dirty="0" smtClean="0">
                <a:latin typeface="Calibri" pitchFamily="34" charset="0"/>
              </a:rPr>
              <a:t>” </a:t>
            </a:r>
            <a:r>
              <a:rPr lang="es-ES" sz="1800" dirty="0" err="1" smtClean="0">
                <a:latin typeface="Calibri" pitchFamily="34" charset="0"/>
              </a:rPr>
              <a:t>with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Spanish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national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coverage</a:t>
            </a:r>
            <a:r>
              <a:rPr lang="es-ES" sz="1800" dirty="0" smtClean="0">
                <a:latin typeface="Calibri" pitchFamily="34" charset="0"/>
              </a:rPr>
              <a:t>.</a:t>
            </a:r>
          </a:p>
          <a:p>
            <a:pPr>
              <a:buFont typeface="Arial" pitchFamily="34" charset="0"/>
              <a:buChar char="•"/>
            </a:pPr>
            <a:r>
              <a:rPr lang="es-ES" sz="1800" dirty="0" smtClean="0">
                <a:latin typeface="Calibri" pitchFamily="34" charset="0"/>
              </a:rPr>
              <a:t>“Grupo </a:t>
            </a:r>
            <a:r>
              <a:rPr lang="es-ES" sz="1800" dirty="0" err="1" smtClean="0">
                <a:latin typeface="Calibri" pitchFamily="34" charset="0"/>
              </a:rPr>
              <a:t>Safa</a:t>
            </a:r>
            <a:r>
              <a:rPr lang="es-ES" sz="1800" dirty="0" smtClean="0">
                <a:latin typeface="Calibri" pitchFamily="34" charset="0"/>
              </a:rPr>
              <a:t>” </a:t>
            </a:r>
            <a:r>
              <a:rPr lang="es-ES" sz="1800" dirty="0" err="1" smtClean="0">
                <a:latin typeface="Calibri" pitchFamily="34" charset="0"/>
              </a:rPr>
              <a:t>is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now</a:t>
            </a:r>
            <a:r>
              <a:rPr lang="es-ES" sz="1800" dirty="0" smtClean="0">
                <a:latin typeface="Calibri" pitchFamily="34" charset="0"/>
              </a:rPr>
              <a:t> Alliance Healthcare </a:t>
            </a:r>
            <a:r>
              <a:rPr lang="es-ES" sz="1800" dirty="0" err="1" smtClean="0">
                <a:latin typeface="Calibri" pitchFamily="34" charset="0"/>
              </a:rPr>
              <a:t>Spain</a:t>
            </a:r>
            <a:endParaRPr lang="es-ES" sz="1800" dirty="0" smtClean="0">
              <a:latin typeface="Calibri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s-ES" sz="1800" dirty="0" smtClean="0">
                <a:latin typeface="Calibri" pitchFamily="34" charset="0"/>
              </a:rPr>
              <a:t>Alliance Healthcare </a:t>
            </a:r>
            <a:r>
              <a:rPr lang="es-ES" sz="1800" dirty="0" err="1" smtClean="0">
                <a:latin typeface="Calibri" pitchFamily="34" charset="0"/>
              </a:rPr>
              <a:t>Spain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is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part</a:t>
            </a:r>
            <a:r>
              <a:rPr lang="es-ES" sz="1800" dirty="0" smtClean="0">
                <a:latin typeface="Calibri" pitchFamily="34" charset="0"/>
              </a:rPr>
              <a:t> of Alliance Healthcare:</a:t>
            </a:r>
          </a:p>
          <a:p>
            <a:pPr marL="717550" lvl="1" indent="-358775">
              <a:buFont typeface="Wingdings" panose="05000000000000000000" pitchFamily="2" charset="2"/>
              <a:buChar char="Ø"/>
            </a:pPr>
            <a:r>
              <a:rPr lang="es-ES" sz="1800" dirty="0" err="1" smtClean="0">
                <a:latin typeface="Calibri" pitchFamily="34" charset="0"/>
              </a:rPr>
              <a:t>Pharmaceutical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>
                <a:latin typeface="Calibri" pitchFamily="34" charset="0"/>
              </a:rPr>
              <a:t>W</a:t>
            </a:r>
            <a:r>
              <a:rPr lang="es-ES" sz="1800" dirty="0" smtClean="0">
                <a:latin typeface="Calibri" pitchFamily="34" charset="0"/>
              </a:rPr>
              <a:t>holesale </a:t>
            </a:r>
            <a:r>
              <a:rPr lang="es-ES" sz="1800" dirty="0" err="1" smtClean="0">
                <a:latin typeface="Calibri" pitchFamily="34" charset="0"/>
              </a:rPr>
              <a:t>business</a:t>
            </a:r>
            <a:r>
              <a:rPr lang="es-ES" sz="1800" dirty="0" smtClean="0">
                <a:latin typeface="Calibri" pitchFamily="34" charset="0"/>
              </a:rPr>
              <a:t> (</a:t>
            </a:r>
            <a:r>
              <a:rPr lang="es-ES" sz="1800" dirty="0" err="1" smtClean="0">
                <a:latin typeface="Calibri" pitchFamily="34" charset="0"/>
              </a:rPr>
              <a:t>mainly</a:t>
            </a:r>
            <a:r>
              <a:rPr lang="es-ES" sz="1800" dirty="0" smtClean="0">
                <a:latin typeface="Calibri" pitchFamily="34" charset="0"/>
              </a:rPr>
              <a:t>)</a:t>
            </a:r>
          </a:p>
          <a:p>
            <a:pPr marL="717550" lvl="1" indent="-358775">
              <a:buFont typeface="Wingdings" panose="05000000000000000000" pitchFamily="2" charset="2"/>
              <a:buChar char="Ø"/>
            </a:pPr>
            <a:r>
              <a:rPr lang="es-ES" sz="1800" dirty="0" err="1" smtClean="0">
                <a:latin typeface="Calibri" pitchFamily="34" charset="0"/>
              </a:rPr>
              <a:t>Presence</a:t>
            </a:r>
            <a:r>
              <a:rPr lang="es-ES" sz="1800" dirty="0" smtClean="0">
                <a:latin typeface="Calibri" pitchFamily="34" charset="0"/>
              </a:rPr>
              <a:t> in +17 </a:t>
            </a:r>
            <a:r>
              <a:rPr lang="es-ES" sz="1800" dirty="0" err="1" smtClean="0">
                <a:latin typeface="Calibri" pitchFamily="34" charset="0"/>
              </a:rPr>
              <a:t>countries</a:t>
            </a:r>
            <a:r>
              <a:rPr lang="es-ES" sz="1800" dirty="0" smtClean="0">
                <a:latin typeface="Calibri" pitchFamily="34" charset="0"/>
              </a:rPr>
              <a:t> (</a:t>
            </a:r>
            <a:r>
              <a:rPr lang="es-ES" sz="1800" dirty="0" err="1" smtClean="0">
                <a:latin typeface="Calibri" pitchFamily="34" charset="0"/>
              </a:rPr>
              <a:t>Europe</a:t>
            </a:r>
            <a:r>
              <a:rPr lang="es-ES" sz="1800" dirty="0" smtClean="0">
                <a:latin typeface="Calibri" pitchFamily="34" charset="0"/>
              </a:rPr>
              <a:t> + </a:t>
            </a:r>
            <a:r>
              <a:rPr lang="es-ES" sz="1800" dirty="0" err="1" smtClean="0">
                <a:latin typeface="Calibri" pitchFamily="34" charset="0"/>
              </a:rPr>
              <a:t>Russia</a:t>
            </a:r>
            <a:r>
              <a:rPr lang="es-ES" sz="1800" dirty="0" smtClean="0">
                <a:latin typeface="Calibri" pitchFamily="34" charset="0"/>
              </a:rPr>
              <a:t>, China, </a:t>
            </a:r>
            <a:r>
              <a:rPr lang="es-ES" sz="1800" dirty="0" err="1" smtClean="0">
                <a:latin typeface="Calibri" pitchFamily="34" charset="0"/>
              </a:rPr>
              <a:t>Egypt</a:t>
            </a:r>
            <a:r>
              <a:rPr lang="es-ES" sz="1800" dirty="0" smtClean="0">
                <a:latin typeface="Calibri" pitchFamily="34" charset="0"/>
              </a:rPr>
              <a:t>…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dirty="0">
                <a:latin typeface="Calibri" pitchFamily="34" charset="0"/>
                <a:cs typeface="+mn-cs"/>
              </a:rPr>
              <a:t>Alliance Healthcare </a:t>
            </a:r>
            <a:r>
              <a:rPr lang="es-ES" sz="1800" dirty="0" err="1" smtClean="0">
                <a:latin typeface="Calibri" pitchFamily="34" charset="0"/>
                <a:cs typeface="+mn-cs"/>
              </a:rPr>
              <a:t>division</a:t>
            </a:r>
            <a:r>
              <a:rPr lang="es-ES" sz="1800" dirty="0" smtClean="0">
                <a:latin typeface="Calibri" pitchFamily="34" charset="0"/>
                <a:cs typeface="+mn-cs"/>
              </a:rPr>
              <a:t> </a:t>
            </a:r>
            <a:r>
              <a:rPr lang="es-ES" sz="1800" dirty="0" err="1" smtClean="0">
                <a:latin typeface="Calibri" pitchFamily="34" charset="0"/>
                <a:cs typeface="+mn-cs"/>
              </a:rPr>
              <a:t>is</a:t>
            </a:r>
            <a:r>
              <a:rPr lang="es-ES" sz="1800" dirty="0" smtClean="0">
                <a:latin typeface="Calibri" pitchFamily="34" charset="0"/>
                <a:cs typeface="+mn-cs"/>
              </a:rPr>
              <a:t> </a:t>
            </a:r>
            <a:r>
              <a:rPr lang="es-ES" sz="1800" dirty="0" err="1">
                <a:latin typeface="Calibri" pitchFamily="34" charset="0"/>
                <a:cs typeface="+mn-cs"/>
              </a:rPr>
              <a:t>part</a:t>
            </a:r>
            <a:r>
              <a:rPr lang="es-ES" sz="1800" dirty="0">
                <a:latin typeface="Calibri" pitchFamily="34" charset="0"/>
                <a:cs typeface="+mn-cs"/>
              </a:rPr>
              <a:t> </a:t>
            </a:r>
            <a:r>
              <a:rPr lang="es-ES" sz="1800" dirty="0">
                <a:latin typeface="Calibri" pitchFamily="34" charset="0"/>
              </a:rPr>
              <a:t>of Alliance </a:t>
            </a:r>
            <a:r>
              <a:rPr lang="es-ES" sz="1800" dirty="0" smtClean="0">
                <a:latin typeface="Calibri" pitchFamily="34" charset="0"/>
              </a:rPr>
              <a:t>Boots, </a:t>
            </a:r>
            <a:r>
              <a:rPr lang="es-ES" sz="1800" dirty="0" err="1" smtClean="0">
                <a:latin typeface="Calibri" pitchFamily="34" charset="0"/>
              </a:rPr>
              <a:t>merge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between</a:t>
            </a:r>
            <a:r>
              <a:rPr lang="es-ES" sz="1800" dirty="0" smtClean="0">
                <a:latin typeface="Calibri" pitchFamily="34" charset="0"/>
              </a:rPr>
              <a:t> Alliance Healthcare and Boots UK:</a:t>
            </a:r>
          </a:p>
          <a:p>
            <a:pPr marL="654050" lvl="2" indent="-285750">
              <a:buFont typeface="Wingdings" panose="05000000000000000000" pitchFamily="2" charset="2"/>
              <a:buChar char="Ø"/>
            </a:pPr>
            <a:r>
              <a:rPr lang="es-ES" sz="1800" dirty="0" err="1" smtClean="0">
                <a:latin typeface="Calibri" pitchFamily="34" charset="0"/>
              </a:rPr>
              <a:t>Health</a:t>
            </a:r>
            <a:r>
              <a:rPr lang="es-ES" sz="1800" dirty="0" smtClean="0">
                <a:latin typeface="Calibri" pitchFamily="34" charset="0"/>
              </a:rPr>
              <a:t> and </a:t>
            </a:r>
            <a:r>
              <a:rPr lang="es-ES" sz="1800" dirty="0" err="1" smtClean="0">
                <a:latin typeface="Calibri" pitchFamily="34" charset="0"/>
              </a:rPr>
              <a:t>Beauty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Retail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business</a:t>
            </a:r>
            <a:r>
              <a:rPr lang="es-ES" sz="1800" dirty="0" smtClean="0">
                <a:latin typeface="Calibri" pitchFamily="34" charset="0"/>
              </a:rPr>
              <a:t> </a:t>
            </a:r>
          </a:p>
          <a:p>
            <a:pPr marL="654050" lvl="2" indent="-285750">
              <a:buFont typeface="Wingdings" panose="05000000000000000000" pitchFamily="2" charset="2"/>
              <a:buChar char="Ø"/>
            </a:pPr>
            <a:r>
              <a:rPr lang="es-ES" sz="1800" dirty="0" err="1" smtClean="0">
                <a:latin typeface="Calibri" pitchFamily="34" charset="0"/>
              </a:rPr>
              <a:t>Mainly</a:t>
            </a:r>
            <a:r>
              <a:rPr lang="es-ES" sz="1800" dirty="0" smtClean="0">
                <a:latin typeface="Calibri" pitchFamily="34" charset="0"/>
              </a:rPr>
              <a:t> in UK, </a:t>
            </a:r>
            <a:r>
              <a:rPr lang="es-ES" sz="1800" dirty="0" err="1" smtClean="0">
                <a:latin typeface="Calibri" pitchFamily="34" charset="0"/>
              </a:rPr>
              <a:t>but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also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Thailand</a:t>
            </a:r>
            <a:r>
              <a:rPr lang="es-ES" sz="1800" dirty="0" smtClean="0">
                <a:latin typeface="Calibri" pitchFamily="34" charset="0"/>
              </a:rPr>
              <a:t>, US, </a:t>
            </a:r>
            <a:r>
              <a:rPr lang="es-ES" sz="1800" dirty="0" err="1" smtClean="0">
                <a:latin typeface="Calibri" pitchFamily="34" charset="0"/>
              </a:rPr>
              <a:t>Gulf</a:t>
            </a:r>
            <a:r>
              <a:rPr lang="es-ES" sz="1800" dirty="0" smtClean="0">
                <a:latin typeface="Calibri" pitchFamily="34" charset="0"/>
              </a:rPr>
              <a:t>, …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s-ES" sz="1800" dirty="0" smtClean="0">
                <a:latin typeface="Calibri" pitchFamily="34" charset="0"/>
              </a:rPr>
              <a:t>Alliance Boots </a:t>
            </a:r>
            <a:r>
              <a:rPr lang="es-ES" sz="1800" dirty="0" err="1" smtClean="0">
                <a:latin typeface="Calibri" pitchFamily="34" charset="0"/>
              </a:rPr>
              <a:t>is</a:t>
            </a:r>
            <a:r>
              <a:rPr lang="es-ES" sz="1800" dirty="0" smtClean="0">
                <a:latin typeface="Calibri" pitchFamily="34" charset="0"/>
              </a:rPr>
              <a:t> in </a:t>
            </a:r>
            <a:r>
              <a:rPr lang="es-ES" sz="1800" dirty="0" err="1" smtClean="0">
                <a:latin typeface="Calibri" pitchFamily="34" charset="0"/>
              </a:rPr>
              <a:t>process</a:t>
            </a:r>
            <a:r>
              <a:rPr lang="es-ES" sz="1800" dirty="0" smtClean="0">
                <a:latin typeface="Calibri" pitchFamily="34" charset="0"/>
              </a:rPr>
              <a:t> of </a:t>
            </a:r>
            <a:r>
              <a:rPr lang="es-ES" sz="1800" dirty="0" err="1" smtClean="0">
                <a:latin typeface="Calibri" pitchFamily="34" charset="0"/>
              </a:rPr>
              <a:t>merge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with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Walgreens</a:t>
            </a:r>
            <a:r>
              <a:rPr lang="es-ES" sz="1800" dirty="0" smtClean="0">
                <a:latin typeface="Calibri" pitchFamily="34" charset="0"/>
              </a:rPr>
              <a:t> (US </a:t>
            </a:r>
            <a:r>
              <a:rPr lang="es-ES" sz="1800" dirty="0" err="1" smtClean="0">
                <a:latin typeface="Calibri" pitchFamily="34" charset="0"/>
              </a:rPr>
              <a:t>biggest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pharmacy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chain</a:t>
            </a:r>
            <a:r>
              <a:rPr lang="es-ES" sz="1800" dirty="0" smtClean="0">
                <a:latin typeface="Calibri" pitchFamily="34" charset="0"/>
              </a:rPr>
              <a:t>) </a:t>
            </a:r>
            <a:r>
              <a:rPr lang="es-ES" sz="1800" dirty="0" err="1" smtClean="0">
                <a:latin typeface="Calibri" pitchFamily="34" charset="0"/>
              </a:rPr>
              <a:t>to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become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Walgreens</a:t>
            </a:r>
            <a:r>
              <a:rPr lang="es-ES" sz="1800" dirty="0" smtClean="0">
                <a:latin typeface="Calibri" pitchFamily="34" charset="0"/>
              </a:rPr>
              <a:t> Boots Alliance.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s-ES" sz="1800" dirty="0">
              <a:latin typeface="Calibri" pitchFamily="34" charset="0"/>
            </a:endParaRP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s-ES" sz="1800" dirty="0" err="1" smtClean="0">
                <a:latin typeface="Calibri" pitchFamily="34" charset="0"/>
              </a:rPr>
              <a:t>My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team</a:t>
            </a:r>
            <a:r>
              <a:rPr lang="es-ES" sz="1800" dirty="0" smtClean="0">
                <a:latin typeface="Calibri" pitchFamily="34" charset="0"/>
              </a:rPr>
              <a:t>, TSF-Z, </a:t>
            </a:r>
            <a:r>
              <a:rPr lang="es-ES" sz="1800" dirty="0" err="1" smtClean="0">
                <a:latin typeface="Calibri" pitchFamily="34" charset="0"/>
              </a:rPr>
              <a:t>is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part</a:t>
            </a:r>
            <a:r>
              <a:rPr lang="es-ES" sz="1800" dirty="0" smtClean="0">
                <a:latin typeface="Calibri" pitchFamily="34" charset="0"/>
              </a:rPr>
              <a:t> of Alliance Healthcare </a:t>
            </a:r>
            <a:r>
              <a:rPr lang="es-ES" sz="1800" dirty="0" err="1" smtClean="0">
                <a:latin typeface="Calibri" pitchFamily="34" charset="0"/>
              </a:rPr>
              <a:t>division</a:t>
            </a:r>
            <a:r>
              <a:rPr lang="es-ES" sz="1800" dirty="0" smtClean="0">
                <a:latin typeface="Calibri" pitchFamily="34" charset="0"/>
              </a:rPr>
              <a:t>, </a:t>
            </a:r>
            <a:r>
              <a:rPr lang="es-ES" sz="1800" dirty="0" err="1" smtClean="0">
                <a:latin typeface="Calibri" pitchFamily="34" charset="0"/>
              </a:rPr>
              <a:t>working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from</a:t>
            </a:r>
            <a:r>
              <a:rPr lang="es-ES" sz="1800" dirty="0" smtClean="0">
                <a:latin typeface="Calibri" pitchFamily="34" charset="0"/>
              </a:rPr>
              <a:t> Zaragoza </a:t>
            </a:r>
            <a:r>
              <a:rPr lang="es-ES" sz="1800" dirty="0" err="1" smtClean="0">
                <a:latin typeface="Calibri" pitchFamily="34" charset="0"/>
              </a:rPr>
              <a:t>for</a:t>
            </a:r>
            <a:r>
              <a:rPr lang="es-ES" sz="1800" dirty="0" smtClean="0">
                <a:latin typeface="Calibri" pitchFamily="34" charset="0"/>
              </a:rPr>
              <a:t> </a:t>
            </a:r>
            <a:r>
              <a:rPr lang="es-ES" sz="1800" dirty="0" err="1" smtClean="0">
                <a:latin typeface="Calibri" pitchFamily="34" charset="0"/>
              </a:rPr>
              <a:t>all</a:t>
            </a:r>
            <a:r>
              <a:rPr lang="es-ES" sz="1800" dirty="0" smtClean="0">
                <a:latin typeface="Calibri" pitchFamily="34" charset="0"/>
              </a:rPr>
              <a:t> AB </a:t>
            </a:r>
            <a:r>
              <a:rPr lang="es-ES" sz="1800" dirty="0" err="1" smtClean="0">
                <a:latin typeface="Calibri" pitchFamily="34" charset="0"/>
              </a:rPr>
              <a:t>from</a:t>
            </a:r>
            <a:r>
              <a:rPr lang="es-ES" sz="1800" dirty="0" smtClean="0">
                <a:latin typeface="Calibri" pitchFamily="34" charset="0"/>
              </a:rPr>
              <a:t> Zaragoza.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s-ES" sz="1800" dirty="0" smtClean="0">
              <a:latin typeface="Calibri" pitchFamily="34" charset="0"/>
            </a:endParaRPr>
          </a:p>
          <a:p>
            <a:pPr marL="654050" lvl="2" indent="-285750">
              <a:buFont typeface="Wingdings" panose="05000000000000000000" pitchFamily="2" charset="2"/>
              <a:buChar char="Ø"/>
            </a:pPr>
            <a:endParaRPr lang="es-ES" sz="1800" dirty="0">
              <a:latin typeface="Calibri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 smtClean="0">
              <a:latin typeface="Calibri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800" dirty="0" smtClean="0">
              <a:latin typeface="Calibri" pitchFamily="34" charset="0"/>
            </a:endParaRPr>
          </a:p>
          <a:p>
            <a:pPr marL="717550" lvl="1" indent="-358775">
              <a:buFont typeface="Wingdings" panose="05000000000000000000" pitchFamily="2" charset="2"/>
              <a:buChar char="Ø"/>
            </a:pPr>
            <a:endParaRPr lang="es-ES" sz="1800" dirty="0" smtClean="0">
              <a:latin typeface="Calibri" pitchFamily="34" charset="0"/>
            </a:endParaRPr>
          </a:p>
          <a:p>
            <a:pPr marL="704850" indent="-358775">
              <a:buFont typeface="Wingdings" panose="05000000000000000000" pitchFamily="2" charset="2"/>
              <a:buChar char="Ø"/>
            </a:pPr>
            <a:endParaRPr lang="es-ES" sz="1800" dirty="0" smtClean="0">
              <a:latin typeface="Calibri" pitchFamily="34" charset="0"/>
            </a:endParaRPr>
          </a:p>
          <a:p>
            <a:pPr marL="698500" lvl="3" indent="-342900">
              <a:buFont typeface="Wingdings" pitchFamily="2" charset="2"/>
              <a:buChar char="Ø"/>
            </a:pPr>
            <a:endParaRPr lang="es-ES" dirty="0" smtClean="0">
              <a:latin typeface="Calibri" pitchFamily="34" charset="0"/>
            </a:endParaRPr>
          </a:p>
          <a:p>
            <a:pPr marL="354013" indent="-354013">
              <a:buFont typeface="Arial" pitchFamily="34" charset="0"/>
              <a:buChar char="•"/>
            </a:pPr>
            <a:endParaRPr lang="es-ES" sz="1800" dirty="0" smtClean="0">
              <a:latin typeface="Calibri" pitchFamily="34" charset="0"/>
            </a:endParaRPr>
          </a:p>
          <a:p>
            <a:pPr marL="354013" indent="-354013">
              <a:buFont typeface="Arial" pitchFamily="34" charset="0"/>
              <a:buChar char="•"/>
            </a:pPr>
            <a:endParaRPr lang="es-ES" sz="1800" dirty="0">
              <a:latin typeface="Calibri" pitchFamily="34" charset="0"/>
            </a:endParaRP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369FCE-4CD6-4DF2-8D2C-A84955C4D786}" type="slidenum">
              <a:rPr lang="en-GB" smtClean="0">
                <a:solidFill>
                  <a:srgbClr val="808080"/>
                </a:solidFill>
                <a:latin typeface="Calibri" pitchFamily="34" charset="0"/>
                <a:cs typeface="Calibri" pitchFamily="34" charset="0"/>
              </a:rPr>
              <a:pPr>
                <a:defRPr/>
              </a:pPr>
              <a:t>3</a:t>
            </a:fld>
            <a:endParaRPr lang="en-GB">
              <a:solidFill>
                <a:srgbClr val="80808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8806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 cstate="print"/>
          <a:srcRect l="13853" t="5078" r="13959" b="10387"/>
          <a:stretch>
            <a:fillRect/>
          </a:stretch>
        </p:blipFill>
        <p:spPr bwMode="auto">
          <a:xfrm>
            <a:off x="2004854" y="1196752"/>
            <a:ext cx="5447466" cy="5101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olo 1"/>
          <p:cNvSpPr txBox="1">
            <a:spLocks/>
          </p:cNvSpPr>
          <p:nvPr/>
        </p:nvSpPr>
        <p:spPr>
          <a:xfrm>
            <a:off x="269875" y="233363"/>
            <a:ext cx="6030913" cy="71913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3CF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3CF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3CF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3CF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3CF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3CF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3CF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3CF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3CF"/>
                </a:solidFill>
                <a:latin typeface="Arial" charset="0"/>
              </a:defRPr>
            </a:lvl9pPr>
          </a:lstStyle>
          <a:p>
            <a:r>
              <a:rPr lang="es-ES" sz="2400" kern="0" dirty="0" smtClean="0">
                <a:latin typeface="Calibri" pitchFamily="34" charset="0"/>
                <a:cs typeface="Calibri" pitchFamily="34" charset="0"/>
              </a:rPr>
              <a:t>Alliance Boots figures</a:t>
            </a:r>
            <a:endParaRPr lang="en-US" sz="2000" b="0" i="1" kern="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765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/>
          <p:cNvSpPr txBox="1">
            <a:spLocks/>
          </p:cNvSpPr>
          <p:nvPr/>
        </p:nvSpPr>
        <p:spPr>
          <a:xfrm>
            <a:off x="269875" y="233363"/>
            <a:ext cx="6030913" cy="71913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3CF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3CF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3CF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3CF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3CF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3CF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3CF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3CF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3CF"/>
                </a:solidFill>
                <a:latin typeface="Arial" charset="0"/>
              </a:defRPr>
            </a:lvl9pPr>
          </a:lstStyle>
          <a:p>
            <a:r>
              <a:rPr lang="es-ES" sz="2400" kern="0" dirty="0" err="1" smtClean="0">
                <a:latin typeface="Calibri" pitchFamily="34" charset="0"/>
                <a:cs typeface="Calibri" pitchFamily="34" charset="0"/>
              </a:rPr>
              <a:t>Walgreens</a:t>
            </a:r>
            <a:r>
              <a:rPr lang="es-ES" sz="2400" kern="0" dirty="0" smtClean="0">
                <a:latin typeface="Calibri" pitchFamily="34" charset="0"/>
                <a:cs typeface="Calibri" pitchFamily="34" charset="0"/>
              </a:rPr>
              <a:t> figures</a:t>
            </a:r>
            <a:endParaRPr lang="en-US" sz="2000" b="0" i="1" kern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AutoShape 39"/>
          <p:cNvSpPr>
            <a:spLocks noChangeArrowheads="1"/>
          </p:cNvSpPr>
          <p:nvPr/>
        </p:nvSpPr>
        <p:spPr bwMode="auto">
          <a:xfrm>
            <a:off x="537368" y="3784625"/>
            <a:ext cx="1984375" cy="1209675"/>
          </a:xfrm>
          <a:prstGeom prst="flowChartAlternateProcess">
            <a:avLst/>
          </a:prstGeom>
          <a:solidFill>
            <a:srgbClr val="CC0000">
              <a:alpha val="80000"/>
            </a:srgbClr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endParaRPr lang="es-ES">
              <a:solidFill>
                <a:srgbClr val="003893"/>
              </a:solidFill>
            </a:endParaRPr>
          </a:p>
        </p:txBody>
      </p:sp>
      <p:sp>
        <p:nvSpPr>
          <p:cNvPr id="5" name="AutoShape 41"/>
          <p:cNvSpPr>
            <a:spLocks noChangeArrowheads="1"/>
          </p:cNvSpPr>
          <p:nvPr/>
        </p:nvSpPr>
        <p:spPr bwMode="auto">
          <a:xfrm>
            <a:off x="4571999" y="2525737"/>
            <a:ext cx="1969293" cy="1211263"/>
          </a:xfrm>
          <a:prstGeom prst="flowChartAlternateProcess">
            <a:avLst/>
          </a:prstGeom>
          <a:solidFill>
            <a:srgbClr val="CC0000">
              <a:alpha val="80000"/>
            </a:srgbClr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endParaRPr lang="es-ES">
              <a:solidFill>
                <a:srgbClr val="003893"/>
              </a:solidFill>
            </a:endParaRPr>
          </a:p>
        </p:txBody>
      </p:sp>
      <p:sp>
        <p:nvSpPr>
          <p:cNvPr id="6" name="Text Box 42"/>
          <p:cNvSpPr txBox="1">
            <a:spLocks noChangeArrowheads="1"/>
          </p:cNvSpPr>
          <p:nvPr/>
        </p:nvSpPr>
        <p:spPr bwMode="auto">
          <a:xfrm>
            <a:off x="4586288" y="2600331"/>
            <a:ext cx="1868487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20000"/>
              </a:spcBef>
            </a:pPr>
            <a:endParaRPr lang="es-ES" sz="1100">
              <a:solidFill>
                <a:srgbClr val="FFFFFF"/>
              </a:solidFill>
            </a:endParaRPr>
          </a:p>
        </p:txBody>
      </p:sp>
      <p:sp>
        <p:nvSpPr>
          <p:cNvPr id="7" name="AutoShape 43"/>
          <p:cNvSpPr>
            <a:spLocks noChangeArrowheads="1"/>
          </p:cNvSpPr>
          <p:nvPr/>
        </p:nvSpPr>
        <p:spPr bwMode="auto">
          <a:xfrm>
            <a:off x="2556668" y="2525737"/>
            <a:ext cx="1959914" cy="1211263"/>
          </a:xfrm>
          <a:prstGeom prst="flowChartAlternateProcess">
            <a:avLst/>
          </a:prstGeom>
          <a:solidFill>
            <a:srgbClr val="CC0000">
              <a:alpha val="80000"/>
            </a:srgbClr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endParaRPr lang="es-ES">
              <a:solidFill>
                <a:srgbClr val="003893"/>
              </a:solidFill>
            </a:endParaRPr>
          </a:p>
        </p:txBody>
      </p:sp>
      <p:sp>
        <p:nvSpPr>
          <p:cNvPr id="8" name="Text Box 44"/>
          <p:cNvSpPr txBox="1">
            <a:spLocks noChangeArrowheads="1"/>
          </p:cNvSpPr>
          <p:nvPr/>
        </p:nvSpPr>
        <p:spPr bwMode="auto">
          <a:xfrm>
            <a:off x="2590800" y="2627318"/>
            <a:ext cx="1982788" cy="1004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20000"/>
              </a:spcBef>
            </a:pPr>
            <a:r>
              <a:rPr lang="es-ES" sz="2800">
                <a:solidFill>
                  <a:srgbClr val="FFFFFF"/>
                </a:solidFill>
              </a:rPr>
              <a:t>7890</a:t>
            </a:r>
            <a:r>
              <a:rPr lang="es-ES" sz="2000">
                <a:solidFill>
                  <a:srgbClr val="FFFFFF"/>
                </a:solidFill>
              </a:rPr>
              <a:t>+</a:t>
            </a:r>
          </a:p>
          <a:p>
            <a:pPr eaLnBrk="0" hangingPunct="0">
              <a:lnSpc>
                <a:spcPct val="90000"/>
              </a:lnSpc>
              <a:spcBef>
                <a:spcPct val="20000"/>
              </a:spcBef>
            </a:pPr>
            <a:r>
              <a:rPr lang="es-ES" sz="1100" b="1">
                <a:solidFill>
                  <a:srgbClr val="FFFFFF"/>
                </a:solidFill>
              </a:rPr>
              <a:t>Puntos de venta (drugstore) . Todo USA, Columbia y Puerto Rico </a:t>
            </a:r>
          </a:p>
        </p:txBody>
      </p:sp>
      <p:sp>
        <p:nvSpPr>
          <p:cNvPr id="9" name="AutoShape 46"/>
          <p:cNvSpPr>
            <a:spLocks noChangeArrowheads="1"/>
          </p:cNvSpPr>
          <p:nvPr/>
        </p:nvSpPr>
        <p:spPr bwMode="auto">
          <a:xfrm>
            <a:off x="6588918" y="1268437"/>
            <a:ext cx="1982788" cy="1209675"/>
          </a:xfrm>
          <a:prstGeom prst="flowChartAlternateProcess">
            <a:avLst/>
          </a:prstGeom>
          <a:solidFill>
            <a:srgbClr val="CC0000">
              <a:alpha val="80000"/>
            </a:srgbClr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endParaRPr lang="es-ES">
              <a:solidFill>
                <a:srgbClr val="003893"/>
              </a:solidFill>
            </a:endParaRPr>
          </a:p>
        </p:txBody>
      </p:sp>
      <p:sp>
        <p:nvSpPr>
          <p:cNvPr id="10" name="AutoShape 47"/>
          <p:cNvSpPr>
            <a:spLocks noChangeArrowheads="1"/>
          </p:cNvSpPr>
          <p:nvPr/>
        </p:nvSpPr>
        <p:spPr bwMode="auto">
          <a:xfrm>
            <a:off x="4574381" y="1268437"/>
            <a:ext cx="1982787" cy="1209675"/>
          </a:xfrm>
          <a:prstGeom prst="flowChartAlternateProcess">
            <a:avLst/>
          </a:prstGeom>
          <a:solidFill>
            <a:srgbClr val="CC0000">
              <a:alpha val="80000"/>
            </a:srgbClr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endParaRPr lang="es-ES">
              <a:solidFill>
                <a:srgbClr val="003893"/>
              </a:solidFill>
            </a:endParaRPr>
          </a:p>
        </p:txBody>
      </p:sp>
      <p:sp>
        <p:nvSpPr>
          <p:cNvPr id="11" name="Text Box 48"/>
          <p:cNvSpPr txBox="1">
            <a:spLocks noChangeArrowheads="1"/>
          </p:cNvSpPr>
          <p:nvPr/>
        </p:nvSpPr>
        <p:spPr bwMode="auto">
          <a:xfrm>
            <a:off x="4643438" y="1354143"/>
            <a:ext cx="1982787" cy="973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20000"/>
              </a:spcBef>
            </a:pPr>
            <a:r>
              <a:rPr lang="es-ES" sz="2800">
                <a:solidFill>
                  <a:srgbClr val="FFFFFF"/>
                </a:solidFill>
              </a:rPr>
              <a:t>6.000.000</a:t>
            </a:r>
            <a:endParaRPr lang="es-ES" sz="2000">
              <a:solidFill>
                <a:srgbClr val="FFFFFF"/>
              </a:solidFill>
            </a:endParaRPr>
          </a:p>
          <a:p>
            <a:pPr eaLnBrk="0" hangingPunct="0">
              <a:spcBef>
                <a:spcPct val="20000"/>
              </a:spcBef>
            </a:pPr>
            <a:r>
              <a:rPr lang="es-ES" sz="1100" b="1">
                <a:solidFill>
                  <a:srgbClr val="FFFFFF"/>
                </a:solidFill>
              </a:rPr>
              <a:t>Clientes por día </a:t>
            </a:r>
          </a:p>
          <a:p>
            <a:pPr eaLnBrk="0" hangingPunct="0">
              <a:spcBef>
                <a:spcPct val="50000"/>
              </a:spcBef>
            </a:pPr>
            <a:endParaRPr lang="es-ES" sz="1100">
              <a:solidFill>
                <a:srgbClr val="FFFFFF"/>
              </a:solidFill>
            </a:endParaRPr>
          </a:p>
        </p:txBody>
      </p:sp>
      <p:sp>
        <p:nvSpPr>
          <p:cNvPr id="12" name="AutoShape 52"/>
          <p:cNvSpPr>
            <a:spLocks noChangeArrowheads="1"/>
          </p:cNvSpPr>
          <p:nvPr/>
        </p:nvSpPr>
        <p:spPr bwMode="auto">
          <a:xfrm>
            <a:off x="572293" y="1268437"/>
            <a:ext cx="1984375" cy="1209675"/>
          </a:xfrm>
          <a:prstGeom prst="flowChartAlternateProcess">
            <a:avLst/>
          </a:prstGeom>
          <a:solidFill>
            <a:srgbClr val="CC0000">
              <a:alpha val="80000"/>
            </a:srgbClr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endParaRPr lang="es-ES">
              <a:solidFill>
                <a:srgbClr val="003893"/>
              </a:solidFill>
            </a:endParaRPr>
          </a:p>
        </p:txBody>
      </p:sp>
      <p:sp>
        <p:nvSpPr>
          <p:cNvPr id="13" name="Text Box 53"/>
          <p:cNvSpPr txBox="1">
            <a:spLocks noChangeArrowheads="1"/>
          </p:cNvSpPr>
          <p:nvPr/>
        </p:nvSpPr>
        <p:spPr bwMode="auto">
          <a:xfrm>
            <a:off x="628650" y="1385893"/>
            <a:ext cx="1851025" cy="1265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20000"/>
              </a:spcBef>
            </a:pPr>
            <a:r>
              <a:rPr lang="es-ES" sz="2800">
                <a:solidFill>
                  <a:srgbClr val="FFFFFF"/>
                </a:solidFill>
              </a:rPr>
              <a:t>247.000</a:t>
            </a:r>
            <a:r>
              <a:rPr lang="es-ES" sz="2000">
                <a:solidFill>
                  <a:srgbClr val="FFFFFF"/>
                </a:solidFill>
              </a:rPr>
              <a:t>+</a:t>
            </a:r>
          </a:p>
          <a:p>
            <a:pPr eaLnBrk="0" hangingPunct="0">
              <a:spcBef>
                <a:spcPct val="20000"/>
              </a:spcBef>
            </a:pPr>
            <a:endParaRPr lang="es-ES" sz="800" b="1">
              <a:solidFill>
                <a:srgbClr val="FFFFFF"/>
              </a:solidFill>
            </a:endParaRPr>
          </a:p>
          <a:p>
            <a:pPr eaLnBrk="0" hangingPunct="0">
              <a:spcBef>
                <a:spcPct val="20000"/>
              </a:spcBef>
            </a:pPr>
            <a:endParaRPr lang="es-ES" sz="800" b="1">
              <a:solidFill>
                <a:srgbClr val="FFFFFF"/>
              </a:solidFill>
            </a:endParaRPr>
          </a:p>
          <a:p>
            <a:pPr eaLnBrk="0" hangingPunct="0">
              <a:spcBef>
                <a:spcPct val="20000"/>
              </a:spcBef>
            </a:pPr>
            <a:r>
              <a:rPr lang="es-ES" sz="1100" b="1">
                <a:solidFill>
                  <a:srgbClr val="FFFFFF"/>
                </a:solidFill>
              </a:rPr>
              <a:t>Empleados</a:t>
            </a:r>
          </a:p>
          <a:p>
            <a:pPr eaLnBrk="0" hangingPunct="0">
              <a:spcBef>
                <a:spcPct val="50000"/>
              </a:spcBef>
            </a:pPr>
            <a:endParaRPr lang="es-ES" sz="1100">
              <a:solidFill>
                <a:srgbClr val="FFFFFF"/>
              </a:solidFill>
            </a:endParaRPr>
          </a:p>
        </p:txBody>
      </p:sp>
      <p:sp>
        <p:nvSpPr>
          <p:cNvPr id="14" name="Text Box 54"/>
          <p:cNvSpPr txBox="1">
            <a:spLocks noChangeArrowheads="1"/>
          </p:cNvSpPr>
          <p:nvPr/>
        </p:nvSpPr>
        <p:spPr bwMode="auto">
          <a:xfrm>
            <a:off x="6591300" y="1357318"/>
            <a:ext cx="1984375" cy="1309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20000"/>
              </a:spcBef>
            </a:pPr>
            <a:r>
              <a:rPr lang="es-ES" sz="2800">
                <a:solidFill>
                  <a:srgbClr val="FFFFFF"/>
                </a:solidFill>
              </a:rPr>
              <a:t>50 Estados</a:t>
            </a:r>
            <a:endParaRPr lang="es-ES" sz="800" b="1">
              <a:solidFill>
                <a:srgbClr val="FFFFFF"/>
              </a:solidFill>
            </a:endParaRPr>
          </a:p>
          <a:p>
            <a:pPr eaLnBrk="0" hangingPunct="0">
              <a:spcBef>
                <a:spcPct val="20000"/>
              </a:spcBef>
            </a:pPr>
            <a:r>
              <a:rPr lang="es-ES" sz="1100" b="1">
                <a:solidFill>
                  <a:srgbClr val="FFFFFF"/>
                </a:solidFill>
              </a:rPr>
              <a:t>Todos los estado USA además de Columbia y Puerto Rico</a:t>
            </a:r>
          </a:p>
          <a:p>
            <a:pPr eaLnBrk="0" hangingPunct="0">
              <a:spcBef>
                <a:spcPct val="50000"/>
              </a:spcBef>
            </a:pPr>
            <a:endParaRPr lang="es-ES" sz="1100">
              <a:solidFill>
                <a:srgbClr val="FFFFFF"/>
              </a:solidFill>
            </a:endParaRPr>
          </a:p>
        </p:txBody>
      </p:sp>
      <p:sp>
        <p:nvSpPr>
          <p:cNvPr id="15" name="Text Box 55"/>
          <p:cNvSpPr txBox="1">
            <a:spLocks noChangeArrowheads="1"/>
          </p:cNvSpPr>
          <p:nvPr/>
        </p:nvSpPr>
        <p:spPr bwMode="auto">
          <a:xfrm>
            <a:off x="606425" y="3859218"/>
            <a:ext cx="1984375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20000"/>
              </a:spcBef>
            </a:pPr>
            <a:r>
              <a:rPr lang="es-ES">
                <a:solidFill>
                  <a:srgbClr val="FFFFFF"/>
                </a:solidFill>
              </a:rPr>
              <a:t>819 </a:t>
            </a:r>
            <a:r>
              <a:rPr lang="es-ES" sz="2200">
                <a:solidFill>
                  <a:srgbClr val="FFFFFF"/>
                </a:solidFill>
              </a:rPr>
              <a:t>millones</a:t>
            </a:r>
            <a:r>
              <a:rPr lang="es-ES" sz="2000">
                <a:solidFill>
                  <a:srgbClr val="FFFFFF"/>
                </a:solidFill>
              </a:rPr>
              <a:t>+</a:t>
            </a:r>
          </a:p>
          <a:p>
            <a:pPr eaLnBrk="0" hangingPunct="0">
              <a:spcBef>
                <a:spcPct val="20000"/>
              </a:spcBef>
            </a:pPr>
            <a:endParaRPr lang="es-ES" sz="1200" b="1">
              <a:solidFill>
                <a:srgbClr val="FFFFFF"/>
              </a:solidFill>
            </a:endParaRPr>
          </a:p>
          <a:p>
            <a:pPr eaLnBrk="0" hangingPunct="0">
              <a:spcBef>
                <a:spcPct val="20000"/>
              </a:spcBef>
            </a:pPr>
            <a:r>
              <a:rPr lang="es-ES" sz="1100" b="1">
                <a:solidFill>
                  <a:srgbClr val="FFFFFF"/>
                </a:solidFill>
              </a:rPr>
              <a:t>Prescripciones en FY11</a:t>
            </a:r>
          </a:p>
        </p:txBody>
      </p:sp>
      <p:sp>
        <p:nvSpPr>
          <p:cNvPr id="16" name="AutoShape 62"/>
          <p:cNvSpPr>
            <a:spLocks noChangeArrowheads="1"/>
          </p:cNvSpPr>
          <p:nvPr/>
        </p:nvSpPr>
        <p:spPr bwMode="auto">
          <a:xfrm>
            <a:off x="6567848" y="5026050"/>
            <a:ext cx="1982788" cy="1211262"/>
          </a:xfrm>
          <a:prstGeom prst="flowChartAlternateProcess">
            <a:avLst/>
          </a:prstGeom>
          <a:solidFill>
            <a:srgbClr val="CC0000">
              <a:alpha val="80000"/>
            </a:srgbClr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endParaRPr lang="es-ES">
              <a:solidFill>
                <a:srgbClr val="003893"/>
              </a:solidFill>
            </a:endParaRPr>
          </a:p>
        </p:txBody>
      </p:sp>
      <p:sp>
        <p:nvSpPr>
          <p:cNvPr id="17" name="Text Box 63"/>
          <p:cNvSpPr txBox="1">
            <a:spLocks noChangeArrowheads="1"/>
          </p:cNvSpPr>
          <p:nvPr/>
        </p:nvSpPr>
        <p:spPr bwMode="auto">
          <a:xfrm>
            <a:off x="6500813" y="4903793"/>
            <a:ext cx="2120900" cy="598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20000"/>
              </a:spcBef>
            </a:pPr>
            <a:endParaRPr lang="es-ES" sz="2000">
              <a:solidFill>
                <a:srgbClr val="FFFFFF"/>
              </a:solidFill>
            </a:endParaRPr>
          </a:p>
          <a:p>
            <a:pPr eaLnBrk="0" hangingPunct="0">
              <a:spcBef>
                <a:spcPct val="20000"/>
              </a:spcBef>
            </a:pPr>
            <a:endParaRPr lang="es-ES" sz="1100" b="1">
              <a:solidFill>
                <a:srgbClr val="FFFFFF"/>
              </a:solidFill>
            </a:endParaRPr>
          </a:p>
        </p:txBody>
      </p:sp>
      <p:sp>
        <p:nvSpPr>
          <p:cNvPr id="18" name="AutoShape 62"/>
          <p:cNvSpPr>
            <a:spLocks noChangeArrowheads="1"/>
          </p:cNvSpPr>
          <p:nvPr/>
        </p:nvSpPr>
        <p:spPr bwMode="auto">
          <a:xfrm>
            <a:off x="4551362" y="3771131"/>
            <a:ext cx="1982788" cy="1211262"/>
          </a:xfrm>
          <a:prstGeom prst="flowChartAlternateProcess">
            <a:avLst/>
          </a:prstGeom>
          <a:solidFill>
            <a:srgbClr val="CC0000">
              <a:alpha val="80000"/>
            </a:srgbClr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endParaRPr lang="es-ES">
              <a:solidFill>
                <a:srgbClr val="003893"/>
              </a:solidFill>
            </a:endParaRPr>
          </a:p>
        </p:txBody>
      </p:sp>
      <p:sp>
        <p:nvSpPr>
          <p:cNvPr id="19" name="Text Box 56"/>
          <p:cNvSpPr txBox="1">
            <a:spLocks noChangeArrowheads="1"/>
          </p:cNvSpPr>
          <p:nvPr/>
        </p:nvSpPr>
        <p:spPr bwMode="auto">
          <a:xfrm>
            <a:off x="4508500" y="3748093"/>
            <a:ext cx="2120900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20000"/>
              </a:spcBef>
            </a:pPr>
            <a:r>
              <a:rPr lang="es-ES" sz="2800">
                <a:solidFill>
                  <a:srgbClr val="FFFFFF"/>
                </a:solidFill>
              </a:rPr>
              <a:t>1ª</a:t>
            </a:r>
            <a:endParaRPr lang="es-ES" sz="2000">
              <a:solidFill>
                <a:srgbClr val="FFFFFF"/>
              </a:solidFill>
            </a:endParaRPr>
          </a:p>
          <a:p>
            <a:pPr eaLnBrk="0" hangingPunct="0">
              <a:spcBef>
                <a:spcPct val="20000"/>
              </a:spcBef>
            </a:pPr>
            <a:r>
              <a:rPr lang="es-ES" sz="1100" b="1">
                <a:solidFill>
                  <a:srgbClr val="FFFFFF"/>
                </a:solidFill>
              </a:rPr>
              <a:t>Cadena de Farmacias en USA</a:t>
            </a:r>
          </a:p>
        </p:txBody>
      </p:sp>
      <p:pic>
        <p:nvPicPr>
          <p:cNvPr id="20" name="Picture 6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43438" y="2808288"/>
            <a:ext cx="1785950" cy="310578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1" name="Picture 61"/>
          <p:cNvPicPr>
            <a:picLocks noChangeAspect="1" noChangeArrowheads="1"/>
          </p:cNvPicPr>
          <p:nvPr/>
        </p:nvPicPr>
        <p:blipFill>
          <a:blip r:embed="rId3" cstate="print"/>
          <a:srcRect l="10986" t="27942" r="10644" b="9179"/>
          <a:stretch>
            <a:fillRect/>
          </a:stretch>
        </p:blipFill>
        <p:spPr bwMode="auto">
          <a:xfrm>
            <a:off x="6586534" y="2539688"/>
            <a:ext cx="1993614" cy="1199656"/>
          </a:xfrm>
          <a:prstGeom prst="roundRect">
            <a:avLst/>
          </a:prstGeom>
          <a:blipFill dpi="0" rotWithShape="0">
            <a:blip r:embed="rId4" cstate="print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</p:pic>
      <p:pic>
        <p:nvPicPr>
          <p:cNvPr id="22" name="Picture 63"/>
          <p:cNvPicPr>
            <a:picLocks noChangeAspect="1" noChangeArrowheads="1"/>
          </p:cNvPicPr>
          <p:nvPr/>
        </p:nvPicPr>
        <p:blipFill>
          <a:blip r:embed="rId5" cstate="print"/>
          <a:srcRect l="10449" t="17773" r="11818" b="15052"/>
          <a:stretch>
            <a:fillRect/>
          </a:stretch>
        </p:blipFill>
        <p:spPr bwMode="auto">
          <a:xfrm>
            <a:off x="2585398" y="1254750"/>
            <a:ext cx="1945644" cy="1230311"/>
          </a:xfrm>
          <a:prstGeom prst="roundRect">
            <a:avLst/>
          </a:prstGeom>
          <a:blipFill dpi="0" rotWithShape="0">
            <a:blip r:embed="rId4" cstate="print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</p:pic>
      <p:pic>
        <p:nvPicPr>
          <p:cNvPr id="23" name="Picture 65" descr="http://www.in-my-bag.com/wp-content/uploads/2012/09/Walgreens-Brand-Health-Wellness-products.jpg"/>
          <p:cNvPicPr>
            <a:picLocks noChangeAspect="1" noChangeArrowheads="1"/>
          </p:cNvPicPr>
          <p:nvPr/>
        </p:nvPicPr>
        <p:blipFill>
          <a:blip r:embed="rId6" cstate="print"/>
          <a:srcRect t="478" b="10937"/>
          <a:stretch>
            <a:fillRect/>
          </a:stretch>
        </p:blipFill>
        <p:spPr bwMode="auto">
          <a:xfrm>
            <a:off x="4558145" y="5022866"/>
            <a:ext cx="1949335" cy="1194459"/>
          </a:xfrm>
          <a:prstGeom prst="roundRect">
            <a:avLst/>
          </a:prstGeom>
          <a:blipFill dpi="0" rotWithShape="0">
            <a:blip r:embed="rId4" cstate="print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</p:pic>
      <p:pic>
        <p:nvPicPr>
          <p:cNvPr id="24" name="Picture 67" descr="http://www.jordanskala.com/wp-content/uploads/2012/07/Walgreens.jpg"/>
          <p:cNvPicPr>
            <a:picLocks noChangeAspect="1" noChangeArrowheads="1"/>
          </p:cNvPicPr>
          <p:nvPr/>
        </p:nvPicPr>
        <p:blipFill>
          <a:blip r:embed="rId7" cstate="print"/>
          <a:srcRect t="5556" b="9324"/>
          <a:stretch>
            <a:fillRect/>
          </a:stretch>
        </p:blipFill>
        <p:spPr bwMode="auto">
          <a:xfrm>
            <a:off x="6595524" y="3762700"/>
            <a:ext cx="1934560" cy="1200148"/>
          </a:xfrm>
          <a:prstGeom prst="roundRect">
            <a:avLst>
              <a:gd name="adj" fmla="val 14616"/>
            </a:avLst>
          </a:prstGeom>
          <a:blipFill dpi="0" rotWithShape="0">
            <a:blip r:embed="rId4" cstate="print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</p:pic>
      <p:pic>
        <p:nvPicPr>
          <p:cNvPr id="25" name="Picture 69" descr="http://image.mapmuse.com/images/maps/map-of-walgreens-locations.png"/>
          <p:cNvPicPr>
            <a:picLocks noChangeAspect="1" noChangeArrowheads="1"/>
          </p:cNvPicPr>
          <p:nvPr/>
        </p:nvPicPr>
        <p:blipFill>
          <a:blip r:embed="rId8" cstate="print"/>
          <a:srcRect t="4533"/>
          <a:stretch>
            <a:fillRect/>
          </a:stretch>
        </p:blipFill>
        <p:spPr bwMode="auto">
          <a:xfrm>
            <a:off x="522169" y="2522536"/>
            <a:ext cx="1993336" cy="1214446"/>
          </a:xfrm>
          <a:prstGeom prst="roundRect">
            <a:avLst/>
          </a:prstGeom>
          <a:blipFill dpi="0" rotWithShape="0">
            <a:blip r:embed="rId4" cstate="print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</p:pic>
      <p:pic>
        <p:nvPicPr>
          <p:cNvPr id="26" name="Picture 72"/>
          <p:cNvPicPr>
            <a:picLocks noChangeAspect="1" noChangeArrowheads="1"/>
          </p:cNvPicPr>
          <p:nvPr/>
        </p:nvPicPr>
        <p:blipFill>
          <a:blip r:embed="rId9" cstate="print"/>
          <a:srcRect l="15381" t="26367" r="40674" b="29729"/>
          <a:stretch>
            <a:fillRect/>
          </a:stretch>
        </p:blipFill>
        <p:spPr bwMode="auto">
          <a:xfrm>
            <a:off x="557204" y="5051426"/>
            <a:ext cx="1943093" cy="1166818"/>
          </a:xfrm>
          <a:prstGeom prst="roundRect">
            <a:avLst>
              <a:gd name="adj" fmla="val 14616"/>
            </a:avLst>
          </a:prstGeom>
          <a:blipFill dpi="0" rotWithShape="0">
            <a:blip r:embed="rId4" cstate="print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</p:pic>
      <p:pic>
        <p:nvPicPr>
          <p:cNvPr id="27" name="Picture 74" descr="http://www.famu.edu/headlines/UserFiles/Image/BusWalgreens.jpg"/>
          <p:cNvPicPr>
            <a:picLocks noChangeAspect="1" noChangeArrowheads="1"/>
          </p:cNvPicPr>
          <p:nvPr/>
        </p:nvPicPr>
        <p:blipFill>
          <a:blip r:embed="rId10" cstate="print"/>
          <a:srcRect b="17655"/>
          <a:stretch>
            <a:fillRect/>
          </a:stretch>
        </p:blipFill>
        <p:spPr bwMode="auto">
          <a:xfrm>
            <a:off x="2562213" y="3798449"/>
            <a:ext cx="1926660" cy="1152979"/>
          </a:xfrm>
          <a:prstGeom prst="roundRect">
            <a:avLst/>
          </a:prstGeom>
          <a:blipFill dpi="0" rotWithShape="0">
            <a:blip r:embed="rId4" cstate="print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</p:pic>
      <p:pic>
        <p:nvPicPr>
          <p:cNvPr id="28" name="Picture 55" descr="Fotograf&amp;#237;a de stock: Manhattan Times square"/>
          <p:cNvPicPr>
            <a:picLocks noChangeAspect="1" noChangeArrowheads="1"/>
          </p:cNvPicPr>
          <p:nvPr/>
        </p:nvPicPr>
        <p:blipFill>
          <a:blip r:embed="rId11" cstate="print"/>
          <a:srcRect b="8064"/>
          <a:stretch>
            <a:fillRect/>
          </a:stretch>
        </p:blipFill>
        <p:spPr bwMode="auto">
          <a:xfrm>
            <a:off x="2562214" y="5037380"/>
            <a:ext cx="1926660" cy="1180864"/>
          </a:xfrm>
          <a:prstGeom prst="roundRect">
            <a:avLst>
              <a:gd name="adj" fmla="val 14616"/>
            </a:avLst>
          </a:prstGeom>
          <a:blipFill dpi="0" rotWithShape="0">
            <a:blip r:embed="rId4" cstate="print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</p:pic>
      <p:pic>
        <p:nvPicPr>
          <p:cNvPr id="29" name="Picture 57" descr="http://www.hellawella.com/wp-content/uploads/2011/08/Deals_WalgreensBeauty_WomanShopping.jpg"/>
          <p:cNvPicPr>
            <a:picLocks noChangeAspect="1" noChangeArrowheads="1"/>
          </p:cNvPicPr>
          <p:nvPr/>
        </p:nvPicPr>
        <p:blipFill>
          <a:blip r:embed="rId12" cstate="print"/>
          <a:srcRect t="18865"/>
          <a:stretch>
            <a:fillRect/>
          </a:stretch>
        </p:blipFill>
        <p:spPr bwMode="auto">
          <a:xfrm>
            <a:off x="6557168" y="5026050"/>
            <a:ext cx="1972916" cy="1191212"/>
          </a:xfrm>
          <a:prstGeom prst="roundRect">
            <a:avLst>
              <a:gd name="adj" fmla="val 14616"/>
            </a:avLst>
          </a:prstGeom>
          <a:blipFill dpi="0" rotWithShape="0">
            <a:blip r:embed="rId4" cstate="print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</p:pic>
    </p:spTree>
    <p:extLst>
      <p:ext uri="{BB962C8B-B14F-4D97-AF65-F5344CB8AC3E}">
        <p14:creationId xmlns:p14="http://schemas.microsoft.com/office/powerpoint/2010/main" val="3148661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it-IT" sz="2400" dirty="0">
                <a:latin typeface="Calibri" pitchFamily="34" charset="0"/>
                <a:cs typeface="Calibri" pitchFamily="34" charset="0"/>
              </a:rPr>
              <a:t>The Software </a:t>
            </a:r>
            <a:r>
              <a:rPr lang="en-US" sz="2400" dirty="0">
                <a:latin typeface="Calibri" pitchFamily="34" charset="0"/>
                <a:cs typeface="Calibri" pitchFamily="34" charset="0"/>
              </a:rPr>
              <a:t>Factory</a:t>
            </a:r>
            <a:r>
              <a:rPr lang="it-IT" sz="2400" dirty="0">
                <a:latin typeface="Calibri" pitchFamily="34" charset="0"/>
                <a:cs typeface="Calibri" pitchFamily="34" charset="0"/>
              </a:rPr>
              <a:t> of </a:t>
            </a:r>
            <a:r>
              <a:rPr lang="it-IT" sz="2400" dirty="0" smtClean="0">
                <a:latin typeface="Calibri" pitchFamily="34" charset="0"/>
                <a:cs typeface="Calibri" pitchFamily="34" charset="0"/>
              </a:rPr>
              <a:t>Zaragoza</a:t>
            </a:r>
            <a:br>
              <a:rPr lang="it-IT" sz="2400" dirty="0" smtClean="0">
                <a:latin typeface="Calibri" pitchFamily="34" charset="0"/>
                <a:cs typeface="Calibri" pitchFamily="34" charset="0"/>
              </a:rPr>
            </a:br>
            <a:r>
              <a:rPr lang="it-IT" sz="2000" b="0" i="1" dirty="0" smtClean="0">
                <a:latin typeface="Calibri" pitchFamily="34" charset="0"/>
                <a:cs typeface="Calibri" pitchFamily="34" charset="0"/>
              </a:rPr>
              <a:t>Mission and goals</a:t>
            </a:r>
            <a:endParaRPr lang="en-US" sz="2000" b="0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369FCE-4CD6-4DF2-8D2C-A84955C4D786}" type="slidenum">
              <a:rPr lang="en-GB" smtClean="0">
                <a:solidFill>
                  <a:srgbClr val="808080"/>
                </a:solidFill>
                <a:latin typeface="Calibri" pitchFamily="34" charset="0"/>
                <a:cs typeface="Calibri" pitchFamily="34" charset="0"/>
              </a:rPr>
              <a:pPr>
                <a:defRPr/>
              </a:pPr>
              <a:t>6</a:t>
            </a:fld>
            <a:endParaRPr lang="en-GB">
              <a:solidFill>
                <a:srgbClr val="808080"/>
              </a:solidFill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51520" y="1134559"/>
            <a:ext cx="4968552" cy="4799126"/>
            <a:chOff x="251520" y="1551012"/>
            <a:chExt cx="4968552" cy="3966220"/>
          </a:xfrm>
          <a:effectLst>
            <a:outerShdw blurRad="152400" dist="317500" dir="5400000" sx="96000" sy="96000" rotWithShape="0">
              <a:prstClr val="black">
                <a:alpha val="15000"/>
              </a:prstClr>
            </a:outerShdw>
          </a:effectLst>
          <a:scene3d>
            <a:camera prst="perspectiveAbove"/>
            <a:lightRig rig="twoPt" dir="t"/>
          </a:scene3d>
        </p:grpSpPr>
        <p:sp>
          <p:nvSpPr>
            <p:cNvPr id="34" name="Rectangle 5"/>
            <p:cNvSpPr>
              <a:spLocks noChangeArrowheads="1"/>
            </p:cNvSpPr>
            <p:nvPr/>
          </p:nvSpPr>
          <p:spPr bwMode="gray">
            <a:xfrm>
              <a:off x="251520" y="1551012"/>
              <a:ext cx="4968552" cy="360363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288000" tIns="0" rIns="0" bIns="0" anchor="ctr"/>
            <a:lstStyle/>
            <a:p>
              <a:pPr defTabSz="801688" eaLnBrk="0" hangingPunct="0"/>
              <a:r>
                <a:rPr lang="en-US" sz="1600" b="1" noProof="1" smtClean="0">
                  <a:solidFill>
                    <a:srgbClr val="FFFFFF"/>
                  </a:solidFill>
                  <a:latin typeface="Calibri" pitchFamily="34" charset="0"/>
                  <a:ea typeface="ＭＳ Ｐゴシック"/>
                  <a:cs typeface="Calibri" pitchFamily="34" charset="0"/>
                </a:rPr>
                <a:t>The Software Factory of Zaragoza</a:t>
              </a:r>
              <a:endParaRPr lang="en-US" sz="1600" b="1" noProof="1">
                <a:solidFill>
                  <a:srgbClr val="FFFFFF"/>
                </a:solidFill>
                <a:latin typeface="Calibri" pitchFamily="34" charset="0"/>
                <a:ea typeface="ＭＳ Ｐゴシック"/>
                <a:cs typeface="Calibri" pitchFamily="34" charset="0"/>
              </a:endParaRPr>
            </a:p>
          </p:txBody>
        </p:sp>
        <p:sp>
          <p:nvSpPr>
            <p:cNvPr id="35" name="Rectangle 5"/>
            <p:cNvSpPr>
              <a:spLocks noChangeArrowheads="1"/>
            </p:cNvSpPr>
            <p:nvPr/>
          </p:nvSpPr>
          <p:spPr bwMode="gray">
            <a:xfrm>
              <a:off x="251520" y="1911374"/>
              <a:ext cx="4968552" cy="3605858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108000" tIns="108000" rIns="144000" bIns="72000"/>
            <a:lstStyle/>
            <a:p>
              <a:pPr marL="190500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r>
                <a:rPr lang="en-GB" sz="1600" dirty="0" smtClean="0">
                  <a:solidFill>
                    <a:srgbClr val="000000"/>
                  </a:solidFill>
                  <a:latin typeface="Calibri" pitchFamily="34" charset="0"/>
                  <a:ea typeface="ＭＳ Ｐゴシック"/>
                  <a:cs typeface="Calibri" pitchFamily="34" charset="0"/>
                </a:rPr>
                <a:t>The new internal </a:t>
              </a:r>
              <a:r>
                <a:rPr lang="en-GB" sz="1600" dirty="0">
                  <a:solidFill>
                    <a:srgbClr val="000000"/>
                  </a:solidFill>
                  <a:latin typeface="Calibri" pitchFamily="34" charset="0"/>
                  <a:ea typeface="ＭＳ Ｐゴシック"/>
                  <a:cs typeface="Calibri" pitchFamily="34" charset="0"/>
                </a:rPr>
                <a:t>Software Factory for Alliance </a:t>
              </a:r>
              <a:r>
                <a:rPr lang="en-GB" sz="1600" dirty="0" smtClean="0">
                  <a:solidFill>
                    <a:srgbClr val="000000"/>
                  </a:solidFill>
                  <a:latin typeface="Calibri" pitchFamily="34" charset="0"/>
                  <a:ea typeface="ＭＳ Ｐゴシック"/>
                  <a:cs typeface="Calibri" pitchFamily="34" charset="0"/>
                </a:rPr>
                <a:t>Boots</a:t>
              </a:r>
            </a:p>
            <a:p>
              <a:pPr marL="190500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endParaRPr lang="en-US" sz="1600" noProof="1">
                <a:solidFill>
                  <a:srgbClr val="003893"/>
                </a:solidFill>
                <a:latin typeface="Calibri" pitchFamily="34" charset="0"/>
                <a:ea typeface="ＭＳ Ｐゴシック"/>
                <a:cs typeface="Calibri" pitchFamily="34" charset="0"/>
              </a:endParaRPr>
            </a:p>
            <a:p>
              <a:pPr marL="190500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r>
                <a:rPr lang="en-GB" sz="1600" dirty="0" smtClean="0">
                  <a:solidFill>
                    <a:srgbClr val="000000"/>
                  </a:solidFill>
                  <a:latin typeface="Calibri" pitchFamily="34" charset="0"/>
                  <a:ea typeface="ＭＳ Ｐゴシック"/>
                  <a:cs typeface="Calibri" pitchFamily="34" charset="0"/>
                </a:rPr>
                <a:t>Our </a:t>
              </a:r>
              <a:r>
                <a:rPr lang="en-GB" sz="1600" b="1" dirty="0" smtClean="0">
                  <a:solidFill>
                    <a:srgbClr val="000000"/>
                  </a:solidFill>
                  <a:latin typeface="Calibri" pitchFamily="34" charset="0"/>
                  <a:ea typeface="ＭＳ Ｐゴシック"/>
                  <a:cs typeface="Calibri" pitchFamily="34" charset="0"/>
                </a:rPr>
                <a:t>mission</a:t>
              </a:r>
              <a:r>
                <a:rPr lang="en-GB" sz="1600" dirty="0" smtClean="0">
                  <a:solidFill>
                    <a:srgbClr val="000000"/>
                  </a:solidFill>
                  <a:latin typeface="Calibri" pitchFamily="34" charset="0"/>
                  <a:ea typeface="ＭＳ Ｐゴシック"/>
                  <a:cs typeface="Calibri" pitchFamily="34" charset="0"/>
                </a:rPr>
                <a:t>: to deliver the most efficient and innovative development  service for Alliance Boots in our 4 competence areas:</a:t>
              </a:r>
            </a:p>
            <a:p>
              <a:pPr marL="647700" lvl="1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Ø"/>
              </a:pPr>
              <a:r>
                <a:rPr lang="en-GB" sz="1600" dirty="0" smtClean="0">
                  <a:solidFill>
                    <a:srgbClr val="000000"/>
                  </a:solidFill>
                  <a:latin typeface="Calibri" pitchFamily="34" charset="0"/>
                  <a:ea typeface="ＭＳ Ｐゴシック"/>
                  <a:cs typeface="Calibri" pitchFamily="34" charset="0"/>
                </a:rPr>
                <a:t>Integration</a:t>
              </a:r>
            </a:p>
            <a:p>
              <a:pPr marL="647700" lvl="1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Ø"/>
              </a:pPr>
              <a:r>
                <a:rPr lang="en-GB" sz="1600" dirty="0" smtClean="0">
                  <a:solidFill>
                    <a:srgbClr val="000000"/>
                  </a:solidFill>
                  <a:latin typeface="Calibri" pitchFamily="34" charset="0"/>
                  <a:ea typeface="ＭＳ Ｐゴシック"/>
                  <a:cs typeface="Calibri" pitchFamily="34" charset="0"/>
                </a:rPr>
                <a:t>Web</a:t>
              </a:r>
            </a:p>
            <a:p>
              <a:pPr marL="647700" lvl="1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Ø"/>
              </a:pPr>
              <a:r>
                <a:rPr lang="en-GB" sz="1600" dirty="0" smtClean="0">
                  <a:solidFill>
                    <a:srgbClr val="000000"/>
                  </a:solidFill>
                  <a:latin typeface="Calibri" pitchFamily="34" charset="0"/>
                  <a:ea typeface="ＭＳ Ｐゴシック"/>
                  <a:cs typeface="Calibri" pitchFamily="34" charset="0"/>
                </a:rPr>
                <a:t>Mobile</a:t>
              </a:r>
            </a:p>
            <a:p>
              <a:pPr marL="647700" lvl="1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Ø"/>
              </a:pPr>
              <a:r>
                <a:rPr lang="en-GB" sz="1600" dirty="0" smtClean="0">
                  <a:solidFill>
                    <a:srgbClr val="000000"/>
                  </a:solidFill>
                  <a:latin typeface="Calibri" pitchFamily="34" charset="0"/>
                  <a:ea typeface="ＭＳ Ｐゴシック"/>
                  <a:cs typeface="Calibri" pitchFamily="34" charset="0"/>
                </a:rPr>
                <a:t>Business Intelligence</a:t>
              </a:r>
            </a:p>
            <a:p>
              <a:pPr marL="190500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endParaRPr lang="en-GB" sz="1600" dirty="0" smtClean="0">
                <a:solidFill>
                  <a:srgbClr val="000000"/>
                </a:solidFill>
                <a:latin typeface="Calibri" pitchFamily="34" charset="0"/>
                <a:ea typeface="ＭＳ Ｐゴシック"/>
                <a:cs typeface="Calibri" pitchFamily="34" charset="0"/>
              </a:endParaRPr>
            </a:p>
            <a:p>
              <a:pPr marL="190500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r>
                <a:rPr lang="en-US" sz="1600" dirty="0" smtClean="0">
                  <a:solidFill>
                    <a:srgbClr val="000000"/>
                  </a:solidFill>
                  <a:latin typeface="Calibri" pitchFamily="34" charset="0"/>
                  <a:ea typeface="ＭＳ Ｐゴシック"/>
                  <a:cs typeface="Calibri" pitchFamily="34" charset="0"/>
                </a:rPr>
                <a:t>Our main </a:t>
              </a:r>
              <a:r>
                <a:rPr lang="en-US" sz="1600" b="1" dirty="0" smtClean="0">
                  <a:solidFill>
                    <a:srgbClr val="000000"/>
                  </a:solidFill>
                  <a:latin typeface="Calibri" pitchFamily="34" charset="0"/>
                  <a:ea typeface="ＭＳ Ｐゴシック"/>
                  <a:cs typeface="Calibri" pitchFamily="34" charset="0"/>
                </a:rPr>
                <a:t>goals</a:t>
              </a:r>
              <a:r>
                <a:rPr lang="en-US" sz="1600" dirty="0" smtClean="0">
                  <a:solidFill>
                    <a:srgbClr val="000000"/>
                  </a:solidFill>
                  <a:latin typeface="Calibri" pitchFamily="34" charset="0"/>
                  <a:ea typeface="ＭＳ Ｐゴシック"/>
                  <a:cs typeface="Calibri" pitchFamily="34" charset="0"/>
                </a:rPr>
                <a:t>:</a:t>
              </a:r>
            </a:p>
            <a:p>
              <a:pPr marL="647700" lvl="1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Ø"/>
              </a:pPr>
              <a:r>
                <a:rPr lang="en-US" sz="1600" dirty="0" smtClean="0">
                  <a:solidFill>
                    <a:srgbClr val="000000"/>
                  </a:solidFill>
                  <a:latin typeface="Calibri" pitchFamily="34" charset="0"/>
                  <a:ea typeface="ＭＳ Ｐゴシック"/>
                  <a:cs typeface="Calibri" pitchFamily="34" charset="0"/>
                </a:rPr>
                <a:t>To provide the best possible “value for money”</a:t>
              </a:r>
            </a:p>
            <a:p>
              <a:pPr marL="647700" lvl="1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Ø"/>
              </a:pPr>
              <a:r>
                <a:rPr lang="en-US" sz="1600" dirty="0" smtClean="0">
                  <a:solidFill>
                    <a:srgbClr val="000000"/>
                  </a:solidFill>
                  <a:latin typeface="Calibri" pitchFamily="34" charset="0"/>
                  <a:ea typeface="ＭＳ Ｐゴシック"/>
                  <a:cs typeface="Calibri" pitchFamily="34" charset="0"/>
                </a:rPr>
                <a:t>To guarantee quality and adherence to standards</a:t>
              </a:r>
            </a:p>
            <a:p>
              <a:pPr marL="647700" lvl="1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Ø"/>
              </a:pPr>
              <a:r>
                <a:rPr lang="en-US" sz="1600" dirty="0" smtClean="0">
                  <a:solidFill>
                    <a:srgbClr val="000000"/>
                  </a:solidFill>
                  <a:latin typeface="Calibri" pitchFamily="34" charset="0"/>
                  <a:ea typeface="ＭＳ Ｐゴシック"/>
                  <a:cs typeface="Calibri" pitchFamily="34" charset="0"/>
                </a:rPr>
                <a:t>To boost synergies and code reusability</a:t>
              </a:r>
            </a:p>
            <a:p>
              <a:pPr marL="647700" lvl="1" indent="-190500">
                <a:lnSpc>
                  <a:spcPct val="90000"/>
                </a:lnSpc>
                <a:spcAft>
                  <a:spcPct val="20000"/>
                </a:spcAft>
                <a:buClr>
                  <a:srgbClr val="292929"/>
                </a:buClr>
                <a:buFont typeface="Wingdings" pitchFamily="2" charset="2"/>
                <a:buChar char="Ø"/>
              </a:pPr>
              <a:r>
                <a:rPr lang="en-US" sz="1600" dirty="0" smtClean="0">
                  <a:solidFill>
                    <a:srgbClr val="000000"/>
                  </a:solidFill>
                  <a:latin typeface="Calibri" pitchFamily="34" charset="0"/>
                  <a:ea typeface="ＭＳ Ｐゴシック"/>
                  <a:cs typeface="Calibri" pitchFamily="34" charset="0"/>
                </a:rPr>
                <a:t>To drive and support innovation</a:t>
              </a:r>
              <a:endParaRPr lang="en-US" sz="1600" dirty="0">
                <a:solidFill>
                  <a:srgbClr val="000000"/>
                </a:solidFill>
                <a:latin typeface="Calibri" pitchFamily="34" charset="0"/>
                <a:ea typeface="ＭＳ Ｐゴシック"/>
                <a:cs typeface="Calibri" pitchFamily="34" charset="0"/>
              </a:endParaRPr>
            </a:p>
          </p:txBody>
        </p:sp>
      </p:grpSp>
      <p:grpSp>
        <p:nvGrpSpPr>
          <p:cNvPr id="24" name="Group 29" descr="© INSCALE GmbH, 15.06.2010"/>
          <p:cNvGrpSpPr>
            <a:grpSpLocks/>
          </p:cNvGrpSpPr>
          <p:nvPr/>
        </p:nvGrpSpPr>
        <p:grpSpPr bwMode="auto">
          <a:xfrm>
            <a:off x="5552816" y="1196752"/>
            <a:ext cx="3240360" cy="2808312"/>
            <a:chOff x="1640" y="1137"/>
            <a:chExt cx="2457" cy="2314"/>
          </a:xfrm>
          <a:gradFill flip="none" rotWithShape="1">
            <a:gsLst>
              <a:gs pos="0">
                <a:schemeClr val="accent2">
                  <a:tint val="66000"/>
                  <a:satMod val="160000"/>
                </a:schemeClr>
              </a:gs>
              <a:gs pos="50000">
                <a:schemeClr val="accent2">
                  <a:tint val="44500"/>
                  <a:satMod val="160000"/>
                </a:schemeClr>
              </a:gs>
              <a:gs pos="100000">
                <a:schemeClr val="accent2">
                  <a:tint val="23500"/>
                  <a:satMod val="160000"/>
                </a:schemeClr>
              </a:gs>
            </a:gsLst>
            <a:path path="circle">
              <a:fillToRect l="100000" b="100000"/>
            </a:path>
            <a:tileRect t="-100000" r="-100000"/>
          </a:gradFill>
          <a:effectLst>
            <a:outerShdw blurRad="368300" dist="317500" dir="5400000" sx="90000" sy="-19000" rotWithShape="0">
              <a:prstClr val="black">
                <a:alpha val="15000"/>
              </a:prstClr>
            </a:outerShdw>
          </a:effectLst>
        </p:grpSpPr>
        <p:sp>
          <p:nvSpPr>
            <p:cNvPr id="25" name="Freeform 9" descr="© INSCALE GmbH, 15.06.2010"/>
            <p:cNvSpPr>
              <a:spLocks noEditPoints="1"/>
            </p:cNvSpPr>
            <p:nvPr/>
          </p:nvSpPr>
          <p:spPr bwMode="auto">
            <a:xfrm>
              <a:off x="1640" y="1152"/>
              <a:ext cx="2457" cy="2212"/>
            </a:xfrm>
            <a:custGeom>
              <a:avLst/>
              <a:gdLst>
                <a:gd name="T0" fmla="*/ 530 w 1713"/>
                <a:gd name="T1" fmla="*/ 84 h 1537"/>
                <a:gd name="T2" fmla="*/ 1456 w 1713"/>
                <a:gd name="T3" fmla="*/ 295 h 1537"/>
                <a:gd name="T4" fmla="*/ 1519 w 1713"/>
                <a:gd name="T5" fmla="*/ 325 h 1537"/>
                <a:gd name="T6" fmla="*/ 138 w 1713"/>
                <a:gd name="T7" fmla="*/ 415 h 1537"/>
                <a:gd name="T8" fmla="*/ 163 w 1713"/>
                <a:gd name="T9" fmla="*/ 444 h 1537"/>
                <a:gd name="T10" fmla="*/ 1593 w 1713"/>
                <a:gd name="T11" fmla="*/ 561 h 1537"/>
                <a:gd name="T12" fmla="*/ 1645 w 1713"/>
                <a:gd name="T13" fmla="*/ 530 h 1537"/>
                <a:gd name="T14" fmla="*/ 1577 w 1713"/>
                <a:gd name="T15" fmla="*/ 574 h 1537"/>
                <a:gd name="T16" fmla="*/ 1613 w 1713"/>
                <a:gd name="T17" fmla="*/ 598 h 1537"/>
                <a:gd name="T18" fmla="*/ 1564 w 1713"/>
                <a:gd name="T19" fmla="*/ 659 h 1537"/>
                <a:gd name="T20" fmla="*/ 1643 w 1713"/>
                <a:gd name="T21" fmla="*/ 814 h 1537"/>
                <a:gd name="T22" fmla="*/ 1548 w 1713"/>
                <a:gd name="T23" fmla="*/ 668 h 1537"/>
                <a:gd name="T24" fmla="*/ 1555 w 1713"/>
                <a:gd name="T25" fmla="*/ 704 h 1537"/>
                <a:gd name="T26" fmla="*/ 1497 w 1713"/>
                <a:gd name="T27" fmla="*/ 687 h 1537"/>
                <a:gd name="T28" fmla="*/ 1394 w 1713"/>
                <a:gd name="T29" fmla="*/ 728 h 1537"/>
                <a:gd name="T30" fmla="*/ 1516 w 1713"/>
                <a:gd name="T31" fmla="*/ 704 h 1537"/>
                <a:gd name="T32" fmla="*/ 1612 w 1713"/>
                <a:gd name="T33" fmla="*/ 784 h 1537"/>
                <a:gd name="T34" fmla="*/ 1587 w 1713"/>
                <a:gd name="T35" fmla="*/ 799 h 1537"/>
                <a:gd name="T36" fmla="*/ 1694 w 1713"/>
                <a:gd name="T37" fmla="*/ 752 h 1537"/>
                <a:gd name="T38" fmla="*/ 1533 w 1713"/>
                <a:gd name="T39" fmla="*/ 725 h 1537"/>
                <a:gd name="T40" fmla="*/ 1559 w 1713"/>
                <a:gd name="T41" fmla="*/ 743 h 1537"/>
                <a:gd name="T42" fmla="*/ 1550 w 1713"/>
                <a:gd name="T43" fmla="*/ 910 h 1537"/>
                <a:gd name="T44" fmla="*/ 1460 w 1713"/>
                <a:gd name="T45" fmla="*/ 828 h 1537"/>
                <a:gd name="T46" fmla="*/ 1334 w 1713"/>
                <a:gd name="T47" fmla="*/ 887 h 1537"/>
                <a:gd name="T48" fmla="*/ 1340 w 1713"/>
                <a:gd name="T49" fmla="*/ 1103 h 1537"/>
                <a:gd name="T50" fmla="*/ 1473 w 1713"/>
                <a:gd name="T51" fmla="*/ 1118 h 1537"/>
                <a:gd name="T52" fmla="*/ 1581 w 1713"/>
                <a:gd name="T53" fmla="*/ 1055 h 1537"/>
                <a:gd name="T54" fmla="*/ 1649 w 1713"/>
                <a:gd name="T55" fmla="*/ 872 h 1537"/>
                <a:gd name="T56" fmla="*/ 1671 w 1713"/>
                <a:gd name="T57" fmla="*/ 902 h 1537"/>
                <a:gd name="T58" fmla="*/ 1596 w 1713"/>
                <a:gd name="T59" fmla="*/ 815 h 1537"/>
                <a:gd name="T60" fmla="*/ 1510 w 1713"/>
                <a:gd name="T61" fmla="*/ 827 h 1537"/>
                <a:gd name="T62" fmla="*/ 1589 w 1713"/>
                <a:gd name="T63" fmla="*/ 865 h 1537"/>
                <a:gd name="T64" fmla="*/ 1129 w 1713"/>
                <a:gd name="T65" fmla="*/ 977 h 1537"/>
                <a:gd name="T66" fmla="*/ 1121 w 1713"/>
                <a:gd name="T67" fmla="*/ 1017 h 1537"/>
                <a:gd name="T68" fmla="*/ 1073 w 1713"/>
                <a:gd name="T69" fmla="*/ 1080 h 1537"/>
                <a:gd name="T70" fmla="*/ 1345 w 1713"/>
                <a:gd name="T71" fmla="*/ 1132 h 1537"/>
                <a:gd name="T72" fmla="*/ 290 w 1713"/>
                <a:gd name="T73" fmla="*/ 1296 h 1537"/>
                <a:gd name="T74" fmla="*/ 689 w 1713"/>
                <a:gd name="T75" fmla="*/ 58 h 1537"/>
                <a:gd name="T76" fmla="*/ 524 w 1713"/>
                <a:gd name="T77" fmla="*/ 26 h 1537"/>
                <a:gd name="T78" fmla="*/ 231 w 1713"/>
                <a:gd name="T79" fmla="*/ 343 h 1537"/>
                <a:gd name="T80" fmla="*/ 178 w 1713"/>
                <a:gd name="T81" fmla="*/ 499 h 1537"/>
                <a:gd name="T82" fmla="*/ 64 w 1713"/>
                <a:gd name="T83" fmla="*/ 623 h 1537"/>
                <a:gd name="T84" fmla="*/ 193 w 1713"/>
                <a:gd name="T85" fmla="*/ 1299 h 1537"/>
                <a:gd name="T86" fmla="*/ 378 w 1713"/>
                <a:gd name="T87" fmla="*/ 1416 h 1537"/>
                <a:gd name="T88" fmla="*/ 342 w 1713"/>
                <a:gd name="T89" fmla="*/ 1349 h 1537"/>
                <a:gd name="T90" fmla="*/ 248 w 1713"/>
                <a:gd name="T91" fmla="*/ 1245 h 1537"/>
                <a:gd name="T92" fmla="*/ 119 w 1713"/>
                <a:gd name="T93" fmla="*/ 767 h 1537"/>
                <a:gd name="T94" fmla="*/ 139 w 1713"/>
                <a:gd name="T95" fmla="*/ 607 h 1537"/>
                <a:gd name="T96" fmla="*/ 361 w 1713"/>
                <a:gd name="T97" fmla="*/ 359 h 1537"/>
                <a:gd name="T98" fmla="*/ 432 w 1713"/>
                <a:gd name="T99" fmla="*/ 296 h 1537"/>
                <a:gd name="T100" fmla="*/ 474 w 1713"/>
                <a:gd name="T101" fmla="*/ 141 h 1537"/>
                <a:gd name="T102" fmla="*/ 545 w 1713"/>
                <a:gd name="T103" fmla="*/ 68 h 1537"/>
                <a:gd name="T104" fmla="*/ 717 w 1713"/>
                <a:gd name="T105" fmla="*/ 64 h 1537"/>
                <a:gd name="T106" fmla="*/ 1301 w 1713"/>
                <a:gd name="T107" fmla="*/ 127 h 1537"/>
                <a:gd name="T108" fmla="*/ 1393 w 1713"/>
                <a:gd name="T109" fmla="*/ 183 h 1537"/>
                <a:gd name="T110" fmla="*/ 1537 w 1713"/>
                <a:gd name="T111" fmla="*/ 308 h 1537"/>
                <a:gd name="T112" fmla="*/ 1682 w 1713"/>
                <a:gd name="T113" fmla="*/ 671 h 1537"/>
                <a:gd name="T114" fmla="*/ 1238 w 1713"/>
                <a:gd name="T115" fmla="*/ 65 h 1537"/>
                <a:gd name="T116" fmla="*/ 1413 w 1713"/>
                <a:gd name="T117" fmla="*/ 215 h 1537"/>
                <a:gd name="T118" fmla="*/ 1696 w 1713"/>
                <a:gd name="T119" fmla="*/ 874 h 1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13" h="1537">
                  <a:moveTo>
                    <a:pt x="1152" y="12"/>
                  </a:moveTo>
                  <a:cubicBezTo>
                    <a:pt x="1149" y="12"/>
                    <a:pt x="1146" y="9"/>
                    <a:pt x="1145" y="11"/>
                  </a:cubicBezTo>
                  <a:cubicBezTo>
                    <a:pt x="1146" y="11"/>
                    <a:pt x="1150" y="15"/>
                    <a:pt x="1152" y="12"/>
                  </a:cubicBezTo>
                  <a:close/>
                  <a:moveTo>
                    <a:pt x="719" y="38"/>
                  </a:moveTo>
                  <a:cubicBezTo>
                    <a:pt x="708" y="38"/>
                    <a:pt x="708" y="38"/>
                    <a:pt x="708" y="38"/>
                  </a:cubicBezTo>
                  <a:cubicBezTo>
                    <a:pt x="708" y="41"/>
                    <a:pt x="719" y="43"/>
                    <a:pt x="719" y="38"/>
                  </a:cubicBezTo>
                  <a:close/>
                  <a:moveTo>
                    <a:pt x="763" y="72"/>
                  </a:moveTo>
                  <a:cubicBezTo>
                    <a:pt x="762" y="76"/>
                    <a:pt x="769" y="76"/>
                    <a:pt x="771" y="74"/>
                  </a:cubicBezTo>
                  <a:cubicBezTo>
                    <a:pt x="768" y="74"/>
                    <a:pt x="765" y="70"/>
                    <a:pt x="763" y="72"/>
                  </a:cubicBezTo>
                  <a:close/>
                  <a:moveTo>
                    <a:pt x="775" y="74"/>
                  </a:moveTo>
                  <a:cubicBezTo>
                    <a:pt x="778" y="76"/>
                    <a:pt x="786" y="80"/>
                    <a:pt x="788" y="76"/>
                  </a:cubicBezTo>
                  <a:cubicBezTo>
                    <a:pt x="783" y="77"/>
                    <a:pt x="779" y="72"/>
                    <a:pt x="775" y="74"/>
                  </a:cubicBezTo>
                  <a:close/>
                  <a:moveTo>
                    <a:pt x="530" y="84"/>
                  </a:moveTo>
                  <a:cubicBezTo>
                    <a:pt x="534" y="85"/>
                    <a:pt x="533" y="80"/>
                    <a:pt x="535" y="84"/>
                  </a:cubicBezTo>
                  <a:cubicBezTo>
                    <a:pt x="536" y="83"/>
                    <a:pt x="536" y="83"/>
                    <a:pt x="537" y="83"/>
                  </a:cubicBezTo>
                  <a:cubicBezTo>
                    <a:pt x="536" y="80"/>
                    <a:pt x="537" y="78"/>
                    <a:pt x="538" y="75"/>
                  </a:cubicBezTo>
                  <a:cubicBezTo>
                    <a:pt x="532" y="75"/>
                    <a:pt x="531" y="80"/>
                    <a:pt x="530" y="84"/>
                  </a:cubicBezTo>
                  <a:close/>
                  <a:moveTo>
                    <a:pt x="530" y="88"/>
                  </a:moveTo>
                  <a:cubicBezTo>
                    <a:pt x="530" y="92"/>
                    <a:pt x="532" y="98"/>
                    <a:pt x="527" y="101"/>
                  </a:cubicBezTo>
                  <a:cubicBezTo>
                    <a:pt x="533" y="99"/>
                    <a:pt x="537" y="94"/>
                    <a:pt x="538" y="87"/>
                  </a:cubicBezTo>
                  <a:cubicBezTo>
                    <a:pt x="535" y="87"/>
                    <a:pt x="533" y="90"/>
                    <a:pt x="530" y="88"/>
                  </a:cubicBezTo>
                  <a:close/>
                  <a:moveTo>
                    <a:pt x="1311" y="135"/>
                  </a:moveTo>
                  <a:cubicBezTo>
                    <a:pt x="1308" y="134"/>
                    <a:pt x="1306" y="128"/>
                    <a:pt x="1303" y="130"/>
                  </a:cubicBezTo>
                  <a:cubicBezTo>
                    <a:pt x="1306" y="131"/>
                    <a:pt x="1308" y="138"/>
                    <a:pt x="1311" y="135"/>
                  </a:cubicBezTo>
                  <a:close/>
                  <a:moveTo>
                    <a:pt x="1414" y="226"/>
                  </a:moveTo>
                  <a:cubicBezTo>
                    <a:pt x="1414" y="223"/>
                    <a:pt x="1413" y="221"/>
                    <a:pt x="1410" y="221"/>
                  </a:cubicBezTo>
                  <a:cubicBezTo>
                    <a:pt x="1409" y="225"/>
                    <a:pt x="1413" y="224"/>
                    <a:pt x="1412" y="228"/>
                  </a:cubicBezTo>
                  <a:cubicBezTo>
                    <a:pt x="1406" y="237"/>
                    <a:pt x="1416" y="247"/>
                    <a:pt x="1421" y="252"/>
                  </a:cubicBezTo>
                  <a:cubicBezTo>
                    <a:pt x="1425" y="264"/>
                    <a:pt x="1425" y="274"/>
                    <a:pt x="1434" y="281"/>
                  </a:cubicBezTo>
                  <a:cubicBezTo>
                    <a:pt x="1434" y="279"/>
                    <a:pt x="1431" y="277"/>
                    <a:pt x="1434" y="276"/>
                  </a:cubicBezTo>
                  <a:cubicBezTo>
                    <a:pt x="1436" y="279"/>
                    <a:pt x="1439" y="282"/>
                    <a:pt x="1441" y="287"/>
                  </a:cubicBezTo>
                  <a:cubicBezTo>
                    <a:pt x="1444" y="288"/>
                    <a:pt x="1441" y="283"/>
                    <a:pt x="1444" y="284"/>
                  </a:cubicBezTo>
                  <a:cubicBezTo>
                    <a:pt x="1444" y="290"/>
                    <a:pt x="1454" y="291"/>
                    <a:pt x="1456" y="289"/>
                  </a:cubicBezTo>
                  <a:cubicBezTo>
                    <a:pt x="1458" y="291"/>
                    <a:pt x="1455" y="292"/>
                    <a:pt x="1456" y="295"/>
                  </a:cubicBezTo>
                  <a:cubicBezTo>
                    <a:pt x="1462" y="296"/>
                    <a:pt x="1461" y="304"/>
                    <a:pt x="1468" y="306"/>
                  </a:cubicBezTo>
                  <a:cubicBezTo>
                    <a:pt x="1472" y="301"/>
                    <a:pt x="1466" y="298"/>
                    <a:pt x="1467" y="295"/>
                  </a:cubicBezTo>
                  <a:cubicBezTo>
                    <a:pt x="1469" y="297"/>
                    <a:pt x="1469" y="295"/>
                    <a:pt x="1472" y="296"/>
                  </a:cubicBezTo>
                  <a:cubicBezTo>
                    <a:pt x="1472" y="298"/>
                    <a:pt x="1474" y="298"/>
                    <a:pt x="1473" y="301"/>
                  </a:cubicBezTo>
                  <a:cubicBezTo>
                    <a:pt x="1472" y="301"/>
                    <a:pt x="1472" y="300"/>
                    <a:pt x="1470" y="300"/>
                  </a:cubicBezTo>
                  <a:cubicBezTo>
                    <a:pt x="1470" y="306"/>
                    <a:pt x="1475" y="306"/>
                    <a:pt x="1476" y="311"/>
                  </a:cubicBezTo>
                  <a:cubicBezTo>
                    <a:pt x="1478" y="312"/>
                    <a:pt x="1478" y="310"/>
                    <a:pt x="1479" y="310"/>
                  </a:cubicBezTo>
                  <a:cubicBezTo>
                    <a:pt x="1484" y="311"/>
                    <a:pt x="1483" y="317"/>
                    <a:pt x="1488" y="318"/>
                  </a:cubicBezTo>
                  <a:cubicBezTo>
                    <a:pt x="1491" y="309"/>
                    <a:pt x="1477" y="305"/>
                    <a:pt x="1477" y="300"/>
                  </a:cubicBezTo>
                  <a:cubicBezTo>
                    <a:pt x="1483" y="304"/>
                    <a:pt x="1486" y="309"/>
                    <a:pt x="1494" y="311"/>
                  </a:cubicBezTo>
                  <a:cubicBezTo>
                    <a:pt x="1486" y="299"/>
                    <a:pt x="1477" y="287"/>
                    <a:pt x="1459" y="284"/>
                  </a:cubicBezTo>
                  <a:cubicBezTo>
                    <a:pt x="1456" y="276"/>
                    <a:pt x="1452" y="269"/>
                    <a:pt x="1446" y="263"/>
                  </a:cubicBezTo>
                  <a:cubicBezTo>
                    <a:pt x="1446" y="266"/>
                    <a:pt x="1450" y="268"/>
                    <a:pt x="1447" y="269"/>
                  </a:cubicBezTo>
                  <a:cubicBezTo>
                    <a:pt x="1438" y="262"/>
                    <a:pt x="1428" y="252"/>
                    <a:pt x="1423" y="240"/>
                  </a:cubicBezTo>
                  <a:cubicBezTo>
                    <a:pt x="1423" y="239"/>
                    <a:pt x="1424" y="237"/>
                    <a:pt x="1424" y="237"/>
                  </a:cubicBezTo>
                  <a:cubicBezTo>
                    <a:pt x="1423" y="232"/>
                    <a:pt x="1416" y="223"/>
                    <a:pt x="1414" y="226"/>
                  </a:cubicBezTo>
                  <a:close/>
                  <a:moveTo>
                    <a:pt x="1519" y="325"/>
                  </a:moveTo>
                  <a:cubicBezTo>
                    <a:pt x="1520" y="328"/>
                    <a:pt x="1521" y="329"/>
                    <a:pt x="1524" y="330"/>
                  </a:cubicBezTo>
                  <a:cubicBezTo>
                    <a:pt x="1524" y="326"/>
                    <a:pt x="1521" y="326"/>
                    <a:pt x="1519" y="325"/>
                  </a:cubicBezTo>
                  <a:close/>
                  <a:moveTo>
                    <a:pt x="928" y="336"/>
                  </a:moveTo>
                  <a:cubicBezTo>
                    <a:pt x="928" y="340"/>
                    <a:pt x="935" y="341"/>
                    <a:pt x="934" y="335"/>
                  </a:cubicBezTo>
                  <a:cubicBezTo>
                    <a:pt x="931" y="335"/>
                    <a:pt x="929" y="335"/>
                    <a:pt x="928" y="336"/>
                  </a:cubicBezTo>
                  <a:close/>
                  <a:moveTo>
                    <a:pt x="913" y="346"/>
                  </a:moveTo>
                  <a:cubicBezTo>
                    <a:pt x="916" y="348"/>
                    <a:pt x="922" y="346"/>
                    <a:pt x="922" y="341"/>
                  </a:cubicBezTo>
                  <a:cubicBezTo>
                    <a:pt x="920" y="333"/>
                    <a:pt x="913" y="340"/>
                    <a:pt x="913" y="346"/>
                  </a:cubicBezTo>
                  <a:close/>
                  <a:moveTo>
                    <a:pt x="901" y="344"/>
                  </a:moveTo>
                  <a:cubicBezTo>
                    <a:pt x="904" y="350"/>
                    <a:pt x="894" y="346"/>
                    <a:pt x="893" y="351"/>
                  </a:cubicBezTo>
                  <a:cubicBezTo>
                    <a:pt x="898" y="355"/>
                    <a:pt x="903" y="351"/>
                    <a:pt x="908" y="349"/>
                  </a:cubicBezTo>
                  <a:cubicBezTo>
                    <a:pt x="908" y="345"/>
                    <a:pt x="903" y="346"/>
                    <a:pt x="901" y="344"/>
                  </a:cubicBezTo>
                  <a:close/>
                  <a:moveTo>
                    <a:pt x="901" y="357"/>
                  </a:moveTo>
                  <a:cubicBezTo>
                    <a:pt x="896" y="354"/>
                    <a:pt x="890" y="358"/>
                    <a:pt x="884" y="357"/>
                  </a:cubicBezTo>
                  <a:cubicBezTo>
                    <a:pt x="875" y="364"/>
                    <a:pt x="895" y="369"/>
                    <a:pt x="901" y="364"/>
                  </a:cubicBezTo>
                  <a:cubicBezTo>
                    <a:pt x="899" y="360"/>
                    <a:pt x="897" y="360"/>
                    <a:pt x="901" y="357"/>
                  </a:cubicBezTo>
                  <a:close/>
                  <a:moveTo>
                    <a:pt x="138" y="415"/>
                  </a:moveTo>
                  <a:cubicBezTo>
                    <a:pt x="134" y="415"/>
                    <a:pt x="133" y="417"/>
                    <a:pt x="132" y="420"/>
                  </a:cubicBezTo>
                  <a:cubicBezTo>
                    <a:pt x="136" y="421"/>
                    <a:pt x="137" y="417"/>
                    <a:pt x="138" y="415"/>
                  </a:cubicBezTo>
                  <a:close/>
                  <a:moveTo>
                    <a:pt x="130" y="417"/>
                  </a:moveTo>
                  <a:cubicBezTo>
                    <a:pt x="128" y="421"/>
                    <a:pt x="124" y="422"/>
                    <a:pt x="124" y="429"/>
                  </a:cubicBezTo>
                  <a:cubicBezTo>
                    <a:pt x="129" y="428"/>
                    <a:pt x="130" y="419"/>
                    <a:pt x="130" y="417"/>
                  </a:cubicBezTo>
                  <a:close/>
                  <a:moveTo>
                    <a:pt x="1576" y="428"/>
                  </a:moveTo>
                  <a:cubicBezTo>
                    <a:pt x="1578" y="441"/>
                    <a:pt x="1584" y="458"/>
                    <a:pt x="1592" y="468"/>
                  </a:cubicBezTo>
                  <a:cubicBezTo>
                    <a:pt x="1593" y="451"/>
                    <a:pt x="1585" y="437"/>
                    <a:pt x="1576" y="428"/>
                  </a:cubicBezTo>
                  <a:close/>
                  <a:moveTo>
                    <a:pt x="128" y="436"/>
                  </a:moveTo>
                  <a:cubicBezTo>
                    <a:pt x="127" y="439"/>
                    <a:pt x="123" y="443"/>
                    <a:pt x="124" y="446"/>
                  </a:cubicBezTo>
                  <a:cubicBezTo>
                    <a:pt x="126" y="443"/>
                    <a:pt x="132" y="441"/>
                    <a:pt x="128" y="436"/>
                  </a:cubicBezTo>
                  <a:close/>
                  <a:moveTo>
                    <a:pt x="118" y="437"/>
                  </a:moveTo>
                  <a:cubicBezTo>
                    <a:pt x="117" y="444"/>
                    <a:pt x="110" y="450"/>
                    <a:pt x="111" y="455"/>
                  </a:cubicBezTo>
                  <a:cubicBezTo>
                    <a:pt x="113" y="450"/>
                    <a:pt x="121" y="441"/>
                    <a:pt x="118" y="437"/>
                  </a:cubicBezTo>
                  <a:close/>
                  <a:moveTo>
                    <a:pt x="112" y="495"/>
                  </a:moveTo>
                  <a:cubicBezTo>
                    <a:pt x="113" y="473"/>
                    <a:pt x="139" y="464"/>
                    <a:pt x="146" y="448"/>
                  </a:cubicBezTo>
                  <a:cubicBezTo>
                    <a:pt x="150" y="447"/>
                    <a:pt x="157" y="446"/>
                    <a:pt x="163" y="444"/>
                  </a:cubicBezTo>
                  <a:cubicBezTo>
                    <a:pt x="154" y="432"/>
                    <a:pt x="144" y="446"/>
                    <a:pt x="135" y="450"/>
                  </a:cubicBezTo>
                  <a:cubicBezTo>
                    <a:pt x="128" y="463"/>
                    <a:pt x="116" y="465"/>
                    <a:pt x="111" y="481"/>
                  </a:cubicBezTo>
                  <a:cubicBezTo>
                    <a:pt x="102" y="487"/>
                    <a:pt x="98" y="497"/>
                    <a:pt x="92" y="505"/>
                  </a:cubicBezTo>
                  <a:cubicBezTo>
                    <a:pt x="103" y="506"/>
                    <a:pt x="103" y="496"/>
                    <a:pt x="112" y="495"/>
                  </a:cubicBezTo>
                  <a:close/>
                  <a:moveTo>
                    <a:pt x="146" y="459"/>
                  </a:moveTo>
                  <a:cubicBezTo>
                    <a:pt x="148" y="459"/>
                    <a:pt x="150" y="459"/>
                    <a:pt x="149" y="455"/>
                  </a:cubicBezTo>
                  <a:cubicBezTo>
                    <a:pt x="146" y="455"/>
                    <a:pt x="145" y="456"/>
                    <a:pt x="146" y="459"/>
                  </a:cubicBezTo>
                  <a:close/>
                  <a:moveTo>
                    <a:pt x="92" y="496"/>
                  </a:moveTo>
                  <a:cubicBezTo>
                    <a:pt x="88" y="495"/>
                    <a:pt x="89" y="499"/>
                    <a:pt x="88" y="502"/>
                  </a:cubicBezTo>
                  <a:cubicBezTo>
                    <a:pt x="91" y="502"/>
                    <a:pt x="92" y="499"/>
                    <a:pt x="92" y="496"/>
                  </a:cubicBezTo>
                  <a:close/>
                  <a:moveTo>
                    <a:pt x="1606" y="540"/>
                  </a:moveTo>
                  <a:cubicBezTo>
                    <a:pt x="1603" y="524"/>
                    <a:pt x="1602" y="509"/>
                    <a:pt x="1589" y="502"/>
                  </a:cubicBezTo>
                  <a:cubicBezTo>
                    <a:pt x="1587" y="522"/>
                    <a:pt x="1598" y="536"/>
                    <a:pt x="1598" y="554"/>
                  </a:cubicBezTo>
                  <a:cubicBezTo>
                    <a:pt x="1594" y="553"/>
                    <a:pt x="1591" y="549"/>
                    <a:pt x="1586" y="549"/>
                  </a:cubicBezTo>
                  <a:cubicBezTo>
                    <a:pt x="1582" y="552"/>
                    <a:pt x="1581" y="563"/>
                    <a:pt x="1588" y="564"/>
                  </a:cubicBezTo>
                  <a:cubicBezTo>
                    <a:pt x="1590" y="562"/>
                    <a:pt x="1589" y="557"/>
                    <a:pt x="1591" y="555"/>
                  </a:cubicBezTo>
                  <a:cubicBezTo>
                    <a:pt x="1593" y="557"/>
                    <a:pt x="1592" y="560"/>
                    <a:pt x="1593" y="561"/>
                  </a:cubicBezTo>
                  <a:cubicBezTo>
                    <a:pt x="1597" y="562"/>
                    <a:pt x="1596" y="559"/>
                    <a:pt x="1599" y="559"/>
                  </a:cubicBezTo>
                  <a:cubicBezTo>
                    <a:pt x="1606" y="564"/>
                    <a:pt x="1595" y="578"/>
                    <a:pt x="1604" y="582"/>
                  </a:cubicBezTo>
                  <a:cubicBezTo>
                    <a:pt x="1603" y="575"/>
                    <a:pt x="1609" y="569"/>
                    <a:pt x="1603" y="565"/>
                  </a:cubicBezTo>
                  <a:cubicBezTo>
                    <a:pt x="1607" y="560"/>
                    <a:pt x="1609" y="552"/>
                    <a:pt x="1610" y="543"/>
                  </a:cubicBezTo>
                  <a:cubicBezTo>
                    <a:pt x="1609" y="541"/>
                    <a:pt x="1607" y="541"/>
                    <a:pt x="1606" y="540"/>
                  </a:cubicBezTo>
                  <a:close/>
                  <a:moveTo>
                    <a:pt x="99" y="526"/>
                  </a:moveTo>
                  <a:cubicBezTo>
                    <a:pt x="103" y="523"/>
                    <a:pt x="110" y="519"/>
                    <a:pt x="112" y="511"/>
                  </a:cubicBezTo>
                  <a:cubicBezTo>
                    <a:pt x="106" y="513"/>
                    <a:pt x="98" y="519"/>
                    <a:pt x="99" y="526"/>
                  </a:cubicBezTo>
                  <a:close/>
                  <a:moveTo>
                    <a:pt x="73" y="545"/>
                  </a:moveTo>
                  <a:cubicBezTo>
                    <a:pt x="73" y="537"/>
                    <a:pt x="80" y="533"/>
                    <a:pt x="85" y="533"/>
                  </a:cubicBezTo>
                  <a:cubicBezTo>
                    <a:pt x="86" y="529"/>
                    <a:pt x="88" y="528"/>
                    <a:pt x="89" y="524"/>
                  </a:cubicBezTo>
                  <a:cubicBezTo>
                    <a:pt x="85" y="523"/>
                    <a:pt x="83" y="529"/>
                    <a:pt x="81" y="527"/>
                  </a:cubicBezTo>
                  <a:cubicBezTo>
                    <a:pt x="82" y="521"/>
                    <a:pt x="86" y="517"/>
                    <a:pt x="88" y="512"/>
                  </a:cubicBezTo>
                  <a:cubicBezTo>
                    <a:pt x="73" y="520"/>
                    <a:pt x="67" y="536"/>
                    <a:pt x="59" y="551"/>
                  </a:cubicBezTo>
                  <a:cubicBezTo>
                    <a:pt x="65" y="550"/>
                    <a:pt x="66" y="542"/>
                    <a:pt x="73" y="545"/>
                  </a:cubicBezTo>
                  <a:close/>
                  <a:moveTo>
                    <a:pt x="1658" y="557"/>
                  </a:moveTo>
                  <a:cubicBezTo>
                    <a:pt x="1659" y="547"/>
                    <a:pt x="1652" y="532"/>
                    <a:pt x="1645" y="530"/>
                  </a:cubicBezTo>
                  <a:cubicBezTo>
                    <a:pt x="1650" y="539"/>
                    <a:pt x="1650" y="552"/>
                    <a:pt x="1658" y="557"/>
                  </a:cubicBezTo>
                  <a:close/>
                  <a:moveTo>
                    <a:pt x="53" y="556"/>
                  </a:moveTo>
                  <a:cubicBezTo>
                    <a:pt x="53" y="562"/>
                    <a:pt x="47" y="562"/>
                    <a:pt x="47" y="569"/>
                  </a:cubicBezTo>
                  <a:cubicBezTo>
                    <a:pt x="50" y="570"/>
                    <a:pt x="56" y="561"/>
                    <a:pt x="53" y="556"/>
                  </a:cubicBezTo>
                  <a:close/>
                  <a:moveTo>
                    <a:pt x="1578" y="581"/>
                  </a:moveTo>
                  <a:cubicBezTo>
                    <a:pt x="1575" y="583"/>
                    <a:pt x="1573" y="586"/>
                    <a:pt x="1574" y="592"/>
                  </a:cubicBezTo>
                  <a:cubicBezTo>
                    <a:pt x="1579" y="593"/>
                    <a:pt x="1579" y="589"/>
                    <a:pt x="1582" y="588"/>
                  </a:cubicBezTo>
                  <a:cubicBezTo>
                    <a:pt x="1584" y="592"/>
                    <a:pt x="1583" y="598"/>
                    <a:pt x="1586" y="601"/>
                  </a:cubicBezTo>
                  <a:cubicBezTo>
                    <a:pt x="1586" y="598"/>
                    <a:pt x="1584" y="593"/>
                    <a:pt x="1587" y="592"/>
                  </a:cubicBezTo>
                  <a:cubicBezTo>
                    <a:pt x="1592" y="600"/>
                    <a:pt x="1584" y="615"/>
                    <a:pt x="1595" y="617"/>
                  </a:cubicBezTo>
                  <a:cubicBezTo>
                    <a:pt x="1597" y="608"/>
                    <a:pt x="1590" y="604"/>
                    <a:pt x="1593" y="597"/>
                  </a:cubicBezTo>
                  <a:cubicBezTo>
                    <a:pt x="1596" y="597"/>
                    <a:pt x="1596" y="601"/>
                    <a:pt x="1598" y="599"/>
                  </a:cubicBezTo>
                  <a:cubicBezTo>
                    <a:pt x="1598" y="592"/>
                    <a:pt x="1597" y="587"/>
                    <a:pt x="1596" y="582"/>
                  </a:cubicBezTo>
                  <a:cubicBezTo>
                    <a:pt x="1595" y="581"/>
                    <a:pt x="1592" y="583"/>
                    <a:pt x="1588" y="582"/>
                  </a:cubicBezTo>
                  <a:cubicBezTo>
                    <a:pt x="1587" y="586"/>
                    <a:pt x="1593" y="589"/>
                    <a:pt x="1589" y="592"/>
                  </a:cubicBezTo>
                  <a:cubicBezTo>
                    <a:pt x="1588" y="590"/>
                    <a:pt x="1586" y="581"/>
                    <a:pt x="1584" y="586"/>
                  </a:cubicBezTo>
                  <a:cubicBezTo>
                    <a:pt x="1582" y="581"/>
                    <a:pt x="1578" y="579"/>
                    <a:pt x="1577" y="574"/>
                  </a:cubicBezTo>
                  <a:cubicBezTo>
                    <a:pt x="1579" y="573"/>
                    <a:pt x="1581" y="572"/>
                    <a:pt x="1583" y="572"/>
                  </a:cubicBezTo>
                  <a:cubicBezTo>
                    <a:pt x="1579" y="549"/>
                    <a:pt x="1561" y="585"/>
                    <a:pt x="1578" y="581"/>
                  </a:cubicBezTo>
                  <a:close/>
                  <a:moveTo>
                    <a:pt x="1587" y="632"/>
                  </a:moveTo>
                  <a:cubicBezTo>
                    <a:pt x="1590" y="635"/>
                    <a:pt x="1593" y="642"/>
                    <a:pt x="1598" y="640"/>
                  </a:cubicBezTo>
                  <a:cubicBezTo>
                    <a:pt x="1597" y="631"/>
                    <a:pt x="1590" y="628"/>
                    <a:pt x="1588" y="620"/>
                  </a:cubicBezTo>
                  <a:cubicBezTo>
                    <a:pt x="1578" y="618"/>
                    <a:pt x="1579" y="606"/>
                    <a:pt x="1572" y="600"/>
                  </a:cubicBezTo>
                  <a:cubicBezTo>
                    <a:pt x="1573" y="599"/>
                    <a:pt x="1575" y="599"/>
                    <a:pt x="1574" y="596"/>
                  </a:cubicBezTo>
                  <a:cubicBezTo>
                    <a:pt x="1570" y="593"/>
                    <a:pt x="1569" y="599"/>
                    <a:pt x="1565" y="599"/>
                  </a:cubicBezTo>
                  <a:cubicBezTo>
                    <a:pt x="1568" y="613"/>
                    <a:pt x="1561" y="624"/>
                    <a:pt x="1568" y="633"/>
                  </a:cubicBezTo>
                  <a:cubicBezTo>
                    <a:pt x="1569" y="632"/>
                    <a:pt x="1569" y="630"/>
                    <a:pt x="1571" y="629"/>
                  </a:cubicBezTo>
                  <a:cubicBezTo>
                    <a:pt x="1574" y="635"/>
                    <a:pt x="1569" y="638"/>
                    <a:pt x="1570" y="645"/>
                  </a:cubicBezTo>
                  <a:cubicBezTo>
                    <a:pt x="1579" y="651"/>
                    <a:pt x="1586" y="643"/>
                    <a:pt x="1587" y="632"/>
                  </a:cubicBezTo>
                  <a:close/>
                  <a:moveTo>
                    <a:pt x="1579" y="595"/>
                  </a:moveTo>
                  <a:cubicBezTo>
                    <a:pt x="1580" y="597"/>
                    <a:pt x="1579" y="601"/>
                    <a:pt x="1583" y="600"/>
                  </a:cubicBezTo>
                  <a:cubicBezTo>
                    <a:pt x="1583" y="598"/>
                    <a:pt x="1583" y="596"/>
                    <a:pt x="1582" y="595"/>
                  </a:cubicBezTo>
                  <a:lnTo>
                    <a:pt x="1579" y="595"/>
                  </a:lnTo>
                  <a:close/>
                  <a:moveTo>
                    <a:pt x="1613" y="598"/>
                  </a:moveTo>
                  <a:cubicBezTo>
                    <a:pt x="1612" y="620"/>
                    <a:pt x="1625" y="632"/>
                    <a:pt x="1631" y="649"/>
                  </a:cubicBezTo>
                  <a:cubicBezTo>
                    <a:pt x="1629" y="634"/>
                    <a:pt x="1621" y="624"/>
                    <a:pt x="1616" y="612"/>
                  </a:cubicBezTo>
                  <a:cubicBezTo>
                    <a:pt x="1620" y="608"/>
                    <a:pt x="1616" y="600"/>
                    <a:pt x="1613" y="598"/>
                  </a:cubicBezTo>
                  <a:close/>
                  <a:moveTo>
                    <a:pt x="54" y="629"/>
                  </a:moveTo>
                  <a:cubicBezTo>
                    <a:pt x="55" y="628"/>
                    <a:pt x="58" y="623"/>
                    <a:pt x="55" y="621"/>
                  </a:cubicBezTo>
                  <a:cubicBezTo>
                    <a:pt x="55" y="623"/>
                    <a:pt x="52" y="627"/>
                    <a:pt x="54" y="629"/>
                  </a:cubicBezTo>
                  <a:close/>
                  <a:moveTo>
                    <a:pt x="1310" y="675"/>
                  </a:moveTo>
                  <a:cubicBezTo>
                    <a:pt x="1314" y="674"/>
                    <a:pt x="1312" y="666"/>
                    <a:pt x="1314" y="662"/>
                  </a:cubicBezTo>
                  <a:cubicBezTo>
                    <a:pt x="1323" y="662"/>
                    <a:pt x="1324" y="654"/>
                    <a:pt x="1334" y="655"/>
                  </a:cubicBezTo>
                  <a:cubicBezTo>
                    <a:pt x="1334" y="652"/>
                    <a:pt x="1334" y="648"/>
                    <a:pt x="1331" y="648"/>
                  </a:cubicBezTo>
                  <a:cubicBezTo>
                    <a:pt x="1324" y="656"/>
                    <a:pt x="1293" y="662"/>
                    <a:pt x="1310" y="675"/>
                  </a:cubicBezTo>
                  <a:close/>
                  <a:moveTo>
                    <a:pt x="1601" y="655"/>
                  </a:moveTo>
                  <a:cubicBezTo>
                    <a:pt x="1600" y="653"/>
                    <a:pt x="1601" y="649"/>
                    <a:pt x="1597" y="649"/>
                  </a:cubicBezTo>
                  <a:cubicBezTo>
                    <a:pt x="1595" y="651"/>
                    <a:pt x="1596" y="656"/>
                    <a:pt x="1598" y="657"/>
                  </a:cubicBezTo>
                  <a:cubicBezTo>
                    <a:pt x="1598" y="656"/>
                    <a:pt x="1600" y="656"/>
                    <a:pt x="1601" y="655"/>
                  </a:cubicBezTo>
                  <a:close/>
                  <a:moveTo>
                    <a:pt x="1561" y="650"/>
                  </a:moveTo>
                  <a:cubicBezTo>
                    <a:pt x="1560" y="654"/>
                    <a:pt x="1561" y="658"/>
                    <a:pt x="1564" y="659"/>
                  </a:cubicBezTo>
                  <a:cubicBezTo>
                    <a:pt x="1563" y="656"/>
                    <a:pt x="1565" y="650"/>
                    <a:pt x="1561" y="650"/>
                  </a:cubicBezTo>
                  <a:close/>
                  <a:moveTo>
                    <a:pt x="1376" y="658"/>
                  </a:moveTo>
                  <a:cubicBezTo>
                    <a:pt x="1375" y="655"/>
                    <a:pt x="1373" y="652"/>
                    <a:pt x="1369" y="652"/>
                  </a:cubicBezTo>
                  <a:cubicBezTo>
                    <a:pt x="1365" y="657"/>
                    <a:pt x="1372" y="661"/>
                    <a:pt x="1376" y="658"/>
                  </a:cubicBezTo>
                  <a:close/>
                  <a:moveTo>
                    <a:pt x="1573" y="656"/>
                  </a:moveTo>
                  <a:cubicBezTo>
                    <a:pt x="1573" y="659"/>
                    <a:pt x="1574" y="660"/>
                    <a:pt x="1575" y="661"/>
                  </a:cubicBezTo>
                  <a:cubicBezTo>
                    <a:pt x="1577" y="659"/>
                    <a:pt x="1576" y="655"/>
                    <a:pt x="1573" y="656"/>
                  </a:cubicBezTo>
                  <a:close/>
                  <a:moveTo>
                    <a:pt x="1606" y="656"/>
                  </a:moveTo>
                  <a:cubicBezTo>
                    <a:pt x="1606" y="659"/>
                    <a:pt x="1607" y="661"/>
                    <a:pt x="1609" y="663"/>
                  </a:cubicBezTo>
                  <a:cubicBezTo>
                    <a:pt x="1611" y="661"/>
                    <a:pt x="1608" y="659"/>
                    <a:pt x="1609" y="656"/>
                  </a:cubicBezTo>
                  <a:lnTo>
                    <a:pt x="1606" y="656"/>
                  </a:lnTo>
                  <a:close/>
                  <a:moveTo>
                    <a:pt x="1623" y="742"/>
                  </a:moveTo>
                  <a:cubicBezTo>
                    <a:pt x="1623" y="744"/>
                    <a:pt x="1619" y="741"/>
                    <a:pt x="1620" y="744"/>
                  </a:cubicBezTo>
                  <a:cubicBezTo>
                    <a:pt x="1621" y="755"/>
                    <a:pt x="1634" y="764"/>
                    <a:pt x="1624" y="774"/>
                  </a:cubicBezTo>
                  <a:cubicBezTo>
                    <a:pt x="1626" y="789"/>
                    <a:pt x="1627" y="807"/>
                    <a:pt x="1635" y="816"/>
                  </a:cubicBezTo>
                  <a:cubicBezTo>
                    <a:pt x="1634" y="813"/>
                    <a:pt x="1634" y="809"/>
                    <a:pt x="1636" y="806"/>
                  </a:cubicBezTo>
                  <a:cubicBezTo>
                    <a:pt x="1639" y="807"/>
                    <a:pt x="1640" y="812"/>
                    <a:pt x="1643" y="814"/>
                  </a:cubicBezTo>
                  <a:cubicBezTo>
                    <a:pt x="1644" y="812"/>
                    <a:pt x="1644" y="809"/>
                    <a:pt x="1646" y="810"/>
                  </a:cubicBezTo>
                  <a:cubicBezTo>
                    <a:pt x="1647" y="814"/>
                    <a:pt x="1649" y="818"/>
                    <a:pt x="1652" y="820"/>
                  </a:cubicBezTo>
                  <a:cubicBezTo>
                    <a:pt x="1652" y="817"/>
                    <a:pt x="1652" y="814"/>
                    <a:pt x="1654" y="813"/>
                  </a:cubicBezTo>
                  <a:cubicBezTo>
                    <a:pt x="1654" y="819"/>
                    <a:pt x="1656" y="822"/>
                    <a:pt x="1660" y="824"/>
                  </a:cubicBezTo>
                  <a:cubicBezTo>
                    <a:pt x="1662" y="802"/>
                    <a:pt x="1680" y="782"/>
                    <a:pt x="1666" y="762"/>
                  </a:cubicBezTo>
                  <a:cubicBezTo>
                    <a:pt x="1665" y="761"/>
                    <a:pt x="1661" y="763"/>
                    <a:pt x="1661" y="761"/>
                  </a:cubicBezTo>
                  <a:cubicBezTo>
                    <a:pt x="1665" y="735"/>
                    <a:pt x="1644" y="720"/>
                    <a:pt x="1644" y="691"/>
                  </a:cubicBezTo>
                  <a:cubicBezTo>
                    <a:pt x="1634" y="685"/>
                    <a:pt x="1638" y="666"/>
                    <a:pt x="1630" y="658"/>
                  </a:cubicBezTo>
                  <a:cubicBezTo>
                    <a:pt x="1627" y="666"/>
                    <a:pt x="1621" y="668"/>
                    <a:pt x="1614" y="671"/>
                  </a:cubicBezTo>
                  <a:cubicBezTo>
                    <a:pt x="1614" y="677"/>
                    <a:pt x="1618" y="677"/>
                    <a:pt x="1621" y="680"/>
                  </a:cubicBezTo>
                  <a:cubicBezTo>
                    <a:pt x="1622" y="684"/>
                    <a:pt x="1618" y="683"/>
                    <a:pt x="1619" y="687"/>
                  </a:cubicBezTo>
                  <a:cubicBezTo>
                    <a:pt x="1621" y="689"/>
                    <a:pt x="1624" y="689"/>
                    <a:pt x="1625" y="690"/>
                  </a:cubicBezTo>
                  <a:cubicBezTo>
                    <a:pt x="1623" y="696"/>
                    <a:pt x="1628" y="708"/>
                    <a:pt x="1620" y="710"/>
                  </a:cubicBezTo>
                  <a:cubicBezTo>
                    <a:pt x="1620" y="714"/>
                    <a:pt x="1621" y="715"/>
                    <a:pt x="1621" y="719"/>
                  </a:cubicBezTo>
                  <a:cubicBezTo>
                    <a:pt x="1618" y="721"/>
                    <a:pt x="1616" y="726"/>
                    <a:pt x="1614" y="731"/>
                  </a:cubicBezTo>
                  <a:cubicBezTo>
                    <a:pt x="1617" y="735"/>
                    <a:pt x="1623" y="735"/>
                    <a:pt x="1623" y="742"/>
                  </a:cubicBezTo>
                  <a:close/>
                  <a:moveTo>
                    <a:pt x="1548" y="668"/>
                  </a:moveTo>
                  <a:cubicBezTo>
                    <a:pt x="1547" y="667"/>
                    <a:pt x="1547" y="667"/>
                    <a:pt x="1547" y="666"/>
                  </a:cubicBezTo>
                  <a:cubicBezTo>
                    <a:pt x="1542" y="666"/>
                    <a:pt x="1542" y="666"/>
                    <a:pt x="1542" y="666"/>
                  </a:cubicBezTo>
                  <a:cubicBezTo>
                    <a:pt x="1542" y="668"/>
                    <a:pt x="1542" y="670"/>
                    <a:pt x="1543" y="671"/>
                  </a:cubicBezTo>
                  <a:cubicBezTo>
                    <a:pt x="1546" y="672"/>
                    <a:pt x="1548" y="670"/>
                    <a:pt x="1548" y="668"/>
                  </a:cubicBezTo>
                  <a:close/>
                  <a:moveTo>
                    <a:pt x="1350" y="702"/>
                  </a:moveTo>
                  <a:cubicBezTo>
                    <a:pt x="1351" y="700"/>
                    <a:pt x="1354" y="700"/>
                    <a:pt x="1353" y="697"/>
                  </a:cubicBezTo>
                  <a:cubicBezTo>
                    <a:pt x="1346" y="688"/>
                    <a:pt x="1330" y="688"/>
                    <a:pt x="1324" y="677"/>
                  </a:cubicBezTo>
                  <a:cubicBezTo>
                    <a:pt x="1325" y="675"/>
                    <a:pt x="1329" y="676"/>
                    <a:pt x="1328" y="672"/>
                  </a:cubicBezTo>
                  <a:cubicBezTo>
                    <a:pt x="1326" y="669"/>
                    <a:pt x="1324" y="666"/>
                    <a:pt x="1317" y="667"/>
                  </a:cubicBezTo>
                  <a:cubicBezTo>
                    <a:pt x="1310" y="689"/>
                    <a:pt x="1330" y="700"/>
                    <a:pt x="1350" y="702"/>
                  </a:cubicBezTo>
                  <a:close/>
                  <a:moveTo>
                    <a:pt x="1274" y="691"/>
                  </a:moveTo>
                  <a:cubicBezTo>
                    <a:pt x="1282" y="690"/>
                    <a:pt x="1291" y="682"/>
                    <a:pt x="1293" y="671"/>
                  </a:cubicBezTo>
                  <a:cubicBezTo>
                    <a:pt x="1287" y="669"/>
                    <a:pt x="1272" y="680"/>
                    <a:pt x="1274" y="691"/>
                  </a:cubicBezTo>
                  <a:close/>
                  <a:moveTo>
                    <a:pt x="1541" y="696"/>
                  </a:moveTo>
                  <a:cubicBezTo>
                    <a:pt x="1546" y="696"/>
                    <a:pt x="1547" y="698"/>
                    <a:pt x="1547" y="702"/>
                  </a:cubicBezTo>
                  <a:cubicBezTo>
                    <a:pt x="1547" y="705"/>
                    <a:pt x="1542" y="703"/>
                    <a:pt x="1542" y="707"/>
                  </a:cubicBezTo>
                  <a:cubicBezTo>
                    <a:pt x="1546" y="712"/>
                    <a:pt x="1552" y="706"/>
                    <a:pt x="1555" y="704"/>
                  </a:cubicBezTo>
                  <a:cubicBezTo>
                    <a:pt x="1558" y="695"/>
                    <a:pt x="1557" y="681"/>
                    <a:pt x="1550" y="672"/>
                  </a:cubicBezTo>
                  <a:cubicBezTo>
                    <a:pt x="1548" y="680"/>
                    <a:pt x="1553" y="687"/>
                    <a:pt x="1551" y="692"/>
                  </a:cubicBezTo>
                  <a:cubicBezTo>
                    <a:pt x="1546" y="691"/>
                    <a:pt x="1549" y="682"/>
                    <a:pt x="1541" y="684"/>
                  </a:cubicBezTo>
                  <a:cubicBezTo>
                    <a:pt x="1540" y="689"/>
                    <a:pt x="1542" y="692"/>
                    <a:pt x="1541" y="696"/>
                  </a:cubicBezTo>
                  <a:close/>
                  <a:moveTo>
                    <a:pt x="207" y="678"/>
                  </a:moveTo>
                  <a:cubicBezTo>
                    <a:pt x="204" y="678"/>
                    <a:pt x="204" y="678"/>
                    <a:pt x="204" y="678"/>
                  </a:cubicBezTo>
                  <a:cubicBezTo>
                    <a:pt x="204" y="683"/>
                    <a:pt x="201" y="684"/>
                    <a:pt x="198" y="684"/>
                  </a:cubicBezTo>
                  <a:cubicBezTo>
                    <a:pt x="198" y="688"/>
                    <a:pt x="198" y="688"/>
                    <a:pt x="198" y="688"/>
                  </a:cubicBezTo>
                  <a:cubicBezTo>
                    <a:pt x="203" y="686"/>
                    <a:pt x="200" y="692"/>
                    <a:pt x="202" y="694"/>
                  </a:cubicBezTo>
                  <a:cubicBezTo>
                    <a:pt x="204" y="694"/>
                    <a:pt x="206" y="693"/>
                    <a:pt x="207" y="693"/>
                  </a:cubicBezTo>
                  <a:cubicBezTo>
                    <a:pt x="208" y="689"/>
                    <a:pt x="206" y="687"/>
                    <a:pt x="205" y="686"/>
                  </a:cubicBezTo>
                  <a:cubicBezTo>
                    <a:pt x="212" y="685"/>
                    <a:pt x="204" y="681"/>
                    <a:pt x="207" y="678"/>
                  </a:cubicBezTo>
                  <a:close/>
                  <a:moveTo>
                    <a:pt x="1525" y="706"/>
                  </a:moveTo>
                  <a:cubicBezTo>
                    <a:pt x="1526" y="704"/>
                    <a:pt x="1528" y="703"/>
                    <a:pt x="1527" y="699"/>
                  </a:cubicBezTo>
                  <a:cubicBezTo>
                    <a:pt x="1525" y="697"/>
                    <a:pt x="1525" y="701"/>
                    <a:pt x="1522" y="700"/>
                  </a:cubicBezTo>
                  <a:cubicBezTo>
                    <a:pt x="1519" y="695"/>
                    <a:pt x="1516" y="689"/>
                    <a:pt x="1511" y="685"/>
                  </a:cubicBezTo>
                  <a:cubicBezTo>
                    <a:pt x="1506" y="687"/>
                    <a:pt x="1501" y="686"/>
                    <a:pt x="1497" y="687"/>
                  </a:cubicBezTo>
                  <a:cubicBezTo>
                    <a:pt x="1494" y="692"/>
                    <a:pt x="1496" y="701"/>
                    <a:pt x="1492" y="706"/>
                  </a:cubicBezTo>
                  <a:cubicBezTo>
                    <a:pt x="1491" y="706"/>
                    <a:pt x="1491" y="704"/>
                    <a:pt x="1490" y="704"/>
                  </a:cubicBezTo>
                  <a:cubicBezTo>
                    <a:pt x="1489" y="708"/>
                    <a:pt x="1489" y="710"/>
                    <a:pt x="1486" y="711"/>
                  </a:cubicBezTo>
                  <a:cubicBezTo>
                    <a:pt x="1479" y="708"/>
                    <a:pt x="1475" y="703"/>
                    <a:pt x="1476" y="694"/>
                  </a:cubicBezTo>
                  <a:cubicBezTo>
                    <a:pt x="1473" y="692"/>
                    <a:pt x="1469" y="691"/>
                    <a:pt x="1468" y="688"/>
                  </a:cubicBezTo>
                  <a:cubicBezTo>
                    <a:pt x="1471" y="685"/>
                    <a:pt x="1465" y="682"/>
                    <a:pt x="1465" y="680"/>
                  </a:cubicBezTo>
                  <a:cubicBezTo>
                    <a:pt x="1434" y="684"/>
                    <a:pt x="1406" y="677"/>
                    <a:pt x="1382" y="690"/>
                  </a:cubicBezTo>
                  <a:cubicBezTo>
                    <a:pt x="1382" y="694"/>
                    <a:pt x="1382" y="698"/>
                    <a:pt x="1379" y="699"/>
                  </a:cubicBezTo>
                  <a:cubicBezTo>
                    <a:pt x="1375" y="699"/>
                    <a:pt x="1366" y="699"/>
                    <a:pt x="1362" y="701"/>
                  </a:cubicBezTo>
                  <a:cubicBezTo>
                    <a:pt x="1361" y="708"/>
                    <a:pt x="1367" y="708"/>
                    <a:pt x="1368" y="714"/>
                  </a:cubicBezTo>
                  <a:cubicBezTo>
                    <a:pt x="1365" y="718"/>
                    <a:pt x="1361" y="719"/>
                    <a:pt x="1356" y="721"/>
                  </a:cubicBezTo>
                  <a:cubicBezTo>
                    <a:pt x="1355" y="729"/>
                    <a:pt x="1350" y="733"/>
                    <a:pt x="1343" y="729"/>
                  </a:cubicBezTo>
                  <a:cubicBezTo>
                    <a:pt x="1343" y="732"/>
                    <a:pt x="1343" y="735"/>
                    <a:pt x="1342" y="736"/>
                  </a:cubicBezTo>
                  <a:cubicBezTo>
                    <a:pt x="1334" y="737"/>
                    <a:pt x="1330" y="742"/>
                    <a:pt x="1328" y="749"/>
                  </a:cubicBezTo>
                  <a:cubicBezTo>
                    <a:pt x="1342" y="740"/>
                    <a:pt x="1361" y="759"/>
                    <a:pt x="1367" y="739"/>
                  </a:cubicBezTo>
                  <a:cubicBezTo>
                    <a:pt x="1372" y="739"/>
                    <a:pt x="1372" y="739"/>
                    <a:pt x="1372" y="739"/>
                  </a:cubicBezTo>
                  <a:cubicBezTo>
                    <a:pt x="1371" y="726"/>
                    <a:pt x="1388" y="734"/>
                    <a:pt x="1394" y="728"/>
                  </a:cubicBezTo>
                  <a:cubicBezTo>
                    <a:pt x="1395" y="733"/>
                    <a:pt x="1401" y="732"/>
                    <a:pt x="1400" y="740"/>
                  </a:cubicBezTo>
                  <a:cubicBezTo>
                    <a:pt x="1402" y="742"/>
                    <a:pt x="1408" y="741"/>
                    <a:pt x="1409" y="744"/>
                  </a:cubicBezTo>
                  <a:cubicBezTo>
                    <a:pt x="1407" y="746"/>
                    <a:pt x="1402" y="744"/>
                    <a:pt x="1402" y="748"/>
                  </a:cubicBezTo>
                  <a:cubicBezTo>
                    <a:pt x="1404" y="752"/>
                    <a:pt x="1406" y="754"/>
                    <a:pt x="1409" y="756"/>
                  </a:cubicBezTo>
                  <a:cubicBezTo>
                    <a:pt x="1415" y="753"/>
                    <a:pt x="1419" y="760"/>
                    <a:pt x="1424" y="760"/>
                  </a:cubicBezTo>
                  <a:cubicBezTo>
                    <a:pt x="1430" y="760"/>
                    <a:pt x="1432" y="755"/>
                    <a:pt x="1437" y="751"/>
                  </a:cubicBezTo>
                  <a:cubicBezTo>
                    <a:pt x="1442" y="756"/>
                    <a:pt x="1449" y="760"/>
                    <a:pt x="1456" y="763"/>
                  </a:cubicBezTo>
                  <a:cubicBezTo>
                    <a:pt x="1458" y="752"/>
                    <a:pt x="1452" y="749"/>
                    <a:pt x="1447" y="745"/>
                  </a:cubicBezTo>
                  <a:cubicBezTo>
                    <a:pt x="1450" y="740"/>
                    <a:pt x="1452" y="736"/>
                    <a:pt x="1454" y="728"/>
                  </a:cubicBezTo>
                  <a:cubicBezTo>
                    <a:pt x="1463" y="726"/>
                    <a:pt x="1476" y="721"/>
                    <a:pt x="1484" y="726"/>
                  </a:cubicBezTo>
                  <a:cubicBezTo>
                    <a:pt x="1488" y="722"/>
                    <a:pt x="1496" y="722"/>
                    <a:pt x="1499" y="719"/>
                  </a:cubicBezTo>
                  <a:cubicBezTo>
                    <a:pt x="1501" y="724"/>
                    <a:pt x="1500" y="731"/>
                    <a:pt x="1506" y="731"/>
                  </a:cubicBezTo>
                  <a:cubicBezTo>
                    <a:pt x="1506" y="722"/>
                    <a:pt x="1506" y="722"/>
                    <a:pt x="1506" y="722"/>
                  </a:cubicBezTo>
                  <a:cubicBezTo>
                    <a:pt x="1507" y="719"/>
                    <a:pt x="1514" y="722"/>
                    <a:pt x="1514" y="719"/>
                  </a:cubicBezTo>
                  <a:cubicBezTo>
                    <a:pt x="1510" y="713"/>
                    <a:pt x="1503" y="710"/>
                    <a:pt x="1497" y="705"/>
                  </a:cubicBezTo>
                  <a:cubicBezTo>
                    <a:pt x="1504" y="701"/>
                    <a:pt x="1507" y="712"/>
                    <a:pt x="1513" y="710"/>
                  </a:cubicBezTo>
                  <a:cubicBezTo>
                    <a:pt x="1515" y="710"/>
                    <a:pt x="1514" y="705"/>
                    <a:pt x="1516" y="704"/>
                  </a:cubicBezTo>
                  <a:cubicBezTo>
                    <a:pt x="1519" y="705"/>
                    <a:pt x="1521" y="707"/>
                    <a:pt x="1525" y="706"/>
                  </a:cubicBezTo>
                  <a:close/>
                  <a:moveTo>
                    <a:pt x="1262" y="683"/>
                  </a:moveTo>
                  <a:cubicBezTo>
                    <a:pt x="1262" y="689"/>
                    <a:pt x="1262" y="689"/>
                    <a:pt x="1262" y="689"/>
                  </a:cubicBezTo>
                  <a:cubicBezTo>
                    <a:pt x="1265" y="689"/>
                    <a:pt x="1267" y="687"/>
                    <a:pt x="1267" y="684"/>
                  </a:cubicBezTo>
                  <a:cubicBezTo>
                    <a:pt x="1266" y="683"/>
                    <a:pt x="1264" y="683"/>
                    <a:pt x="1262" y="683"/>
                  </a:cubicBezTo>
                  <a:close/>
                  <a:moveTo>
                    <a:pt x="1232" y="697"/>
                  </a:moveTo>
                  <a:cubicBezTo>
                    <a:pt x="1239" y="696"/>
                    <a:pt x="1246" y="694"/>
                    <a:pt x="1248" y="687"/>
                  </a:cubicBezTo>
                  <a:cubicBezTo>
                    <a:pt x="1241" y="688"/>
                    <a:pt x="1234" y="691"/>
                    <a:pt x="1232" y="697"/>
                  </a:cubicBezTo>
                  <a:close/>
                  <a:moveTo>
                    <a:pt x="196" y="694"/>
                  </a:moveTo>
                  <a:cubicBezTo>
                    <a:pt x="199" y="694"/>
                    <a:pt x="199" y="689"/>
                    <a:pt x="196" y="689"/>
                  </a:cubicBezTo>
                  <a:cubicBezTo>
                    <a:pt x="196" y="690"/>
                    <a:pt x="195" y="691"/>
                    <a:pt x="196" y="694"/>
                  </a:cubicBezTo>
                  <a:close/>
                  <a:moveTo>
                    <a:pt x="1222" y="693"/>
                  </a:moveTo>
                  <a:cubicBezTo>
                    <a:pt x="1217" y="695"/>
                    <a:pt x="1211" y="703"/>
                    <a:pt x="1214" y="706"/>
                  </a:cubicBezTo>
                  <a:cubicBezTo>
                    <a:pt x="1219" y="704"/>
                    <a:pt x="1226" y="700"/>
                    <a:pt x="1222" y="693"/>
                  </a:cubicBezTo>
                  <a:close/>
                  <a:moveTo>
                    <a:pt x="1604" y="812"/>
                  </a:moveTo>
                  <a:cubicBezTo>
                    <a:pt x="1609" y="805"/>
                    <a:pt x="1603" y="789"/>
                    <a:pt x="1609" y="781"/>
                  </a:cubicBezTo>
                  <a:cubicBezTo>
                    <a:pt x="1611" y="781"/>
                    <a:pt x="1609" y="785"/>
                    <a:pt x="1612" y="784"/>
                  </a:cubicBezTo>
                  <a:cubicBezTo>
                    <a:pt x="1615" y="776"/>
                    <a:pt x="1615" y="767"/>
                    <a:pt x="1611" y="762"/>
                  </a:cubicBezTo>
                  <a:cubicBezTo>
                    <a:pt x="1616" y="746"/>
                    <a:pt x="1609" y="726"/>
                    <a:pt x="1604" y="712"/>
                  </a:cubicBezTo>
                  <a:cubicBezTo>
                    <a:pt x="1594" y="717"/>
                    <a:pt x="1588" y="707"/>
                    <a:pt x="1581" y="704"/>
                  </a:cubicBezTo>
                  <a:cubicBezTo>
                    <a:pt x="1580" y="699"/>
                    <a:pt x="1575" y="693"/>
                    <a:pt x="1571" y="694"/>
                  </a:cubicBezTo>
                  <a:cubicBezTo>
                    <a:pt x="1574" y="703"/>
                    <a:pt x="1577" y="714"/>
                    <a:pt x="1587" y="718"/>
                  </a:cubicBezTo>
                  <a:cubicBezTo>
                    <a:pt x="1589" y="719"/>
                    <a:pt x="1592" y="716"/>
                    <a:pt x="1595" y="718"/>
                  </a:cubicBezTo>
                  <a:cubicBezTo>
                    <a:pt x="1597" y="718"/>
                    <a:pt x="1597" y="722"/>
                    <a:pt x="1598" y="723"/>
                  </a:cubicBezTo>
                  <a:cubicBezTo>
                    <a:pt x="1601" y="726"/>
                    <a:pt x="1604" y="724"/>
                    <a:pt x="1607" y="726"/>
                  </a:cubicBezTo>
                  <a:cubicBezTo>
                    <a:pt x="1607" y="731"/>
                    <a:pt x="1608" y="735"/>
                    <a:pt x="1608" y="741"/>
                  </a:cubicBezTo>
                  <a:cubicBezTo>
                    <a:pt x="1602" y="739"/>
                    <a:pt x="1602" y="743"/>
                    <a:pt x="1600" y="744"/>
                  </a:cubicBezTo>
                  <a:cubicBezTo>
                    <a:pt x="1598" y="736"/>
                    <a:pt x="1591" y="728"/>
                    <a:pt x="1586" y="726"/>
                  </a:cubicBezTo>
                  <a:cubicBezTo>
                    <a:pt x="1585" y="734"/>
                    <a:pt x="1593" y="741"/>
                    <a:pt x="1594" y="749"/>
                  </a:cubicBezTo>
                  <a:cubicBezTo>
                    <a:pt x="1592" y="748"/>
                    <a:pt x="1592" y="751"/>
                    <a:pt x="1589" y="750"/>
                  </a:cubicBezTo>
                  <a:cubicBezTo>
                    <a:pt x="1592" y="760"/>
                    <a:pt x="1582" y="760"/>
                    <a:pt x="1587" y="769"/>
                  </a:cubicBezTo>
                  <a:cubicBezTo>
                    <a:pt x="1583" y="774"/>
                    <a:pt x="1576" y="775"/>
                    <a:pt x="1578" y="785"/>
                  </a:cubicBezTo>
                  <a:cubicBezTo>
                    <a:pt x="1583" y="786"/>
                    <a:pt x="1581" y="791"/>
                    <a:pt x="1581" y="796"/>
                  </a:cubicBezTo>
                  <a:cubicBezTo>
                    <a:pt x="1583" y="797"/>
                    <a:pt x="1585" y="798"/>
                    <a:pt x="1587" y="799"/>
                  </a:cubicBezTo>
                  <a:cubicBezTo>
                    <a:pt x="1592" y="786"/>
                    <a:pt x="1596" y="772"/>
                    <a:pt x="1603" y="760"/>
                  </a:cubicBezTo>
                  <a:cubicBezTo>
                    <a:pt x="1603" y="772"/>
                    <a:pt x="1592" y="808"/>
                    <a:pt x="1604" y="812"/>
                  </a:cubicBezTo>
                  <a:close/>
                  <a:moveTo>
                    <a:pt x="187" y="697"/>
                  </a:moveTo>
                  <a:cubicBezTo>
                    <a:pt x="188" y="698"/>
                    <a:pt x="189" y="699"/>
                    <a:pt x="191" y="698"/>
                  </a:cubicBezTo>
                  <a:cubicBezTo>
                    <a:pt x="191" y="696"/>
                    <a:pt x="190" y="695"/>
                    <a:pt x="189" y="695"/>
                  </a:cubicBezTo>
                  <a:cubicBezTo>
                    <a:pt x="189" y="696"/>
                    <a:pt x="187" y="696"/>
                    <a:pt x="187" y="697"/>
                  </a:cubicBezTo>
                  <a:close/>
                  <a:moveTo>
                    <a:pt x="1253" y="697"/>
                  </a:moveTo>
                  <a:cubicBezTo>
                    <a:pt x="1252" y="701"/>
                    <a:pt x="1256" y="700"/>
                    <a:pt x="1255" y="703"/>
                  </a:cubicBezTo>
                  <a:cubicBezTo>
                    <a:pt x="1252" y="703"/>
                    <a:pt x="1251" y="704"/>
                    <a:pt x="1251" y="707"/>
                  </a:cubicBezTo>
                  <a:cubicBezTo>
                    <a:pt x="1258" y="709"/>
                    <a:pt x="1257" y="698"/>
                    <a:pt x="1266" y="700"/>
                  </a:cubicBezTo>
                  <a:cubicBezTo>
                    <a:pt x="1264" y="693"/>
                    <a:pt x="1259" y="700"/>
                    <a:pt x="1253" y="697"/>
                  </a:cubicBezTo>
                  <a:close/>
                  <a:moveTo>
                    <a:pt x="1692" y="805"/>
                  </a:moveTo>
                  <a:cubicBezTo>
                    <a:pt x="1700" y="797"/>
                    <a:pt x="1701" y="784"/>
                    <a:pt x="1703" y="769"/>
                  </a:cubicBezTo>
                  <a:cubicBezTo>
                    <a:pt x="1705" y="747"/>
                    <a:pt x="1704" y="720"/>
                    <a:pt x="1701" y="701"/>
                  </a:cubicBezTo>
                  <a:cubicBezTo>
                    <a:pt x="1701" y="715"/>
                    <a:pt x="1702" y="730"/>
                    <a:pt x="1700" y="742"/>
                  </a:cubicBezTo>
                  <a:cubicBezTo>
                    <a:pt x="1700" y="740"/>
                    <a:pt x="1700" y="739"/>
                    <a:pt x="1699" y="739"/>
                  </a:cubicBezTo>
                  <a:cubicBezTo>
                    <a:pt x="1700" y="744"/>
                    <a:pt x="1695" y="747"/>
                    <a:pt x="1694" y="752"/>
                  </a:cubicBezTo>
                  <a:cubicBezTo>
                    <a:pt x="1692" y="762"/>
                    <a:pt x="1695" y="773"/>
                    <a:pt x="1693" y="784"/>
                  </a:cubicBezTo>
                  <a:cubicBezTo>
                    <a:pt x="1691" y="792"/>
                    <a:pt x="1685" y="799"/>
                    <a:pt x="1692" y="805"/>
                  </a:cubicBezTo>
                  <a:close/>
                  <a:moveTo>
                    <a:pt x="1234" y="706"/>
                  </a:moveTo>
                  <a:cubicBezTo>
                    <a:pt x="1230" y="704"/>
                    <a:pt x="1222" y="705"/>
                    <a:pt x="1221" y="710"/>
                  </a:cubicBezTo>
                  <a:cubicBezTo>
                    <a:pt x="1223" y="714"/>
                    <a:pt x="1229" y="712"/>
                    <a:pt x="1233" y="711"/>
                  </a:cubicBezTo>
                  <a:cubicBezTo>
                    <a:pt x="1233" y="709"/>
                    <a:pt x="1235" y="709"/>
                    <a:pt x="1234" y="706"/>
                  </a:cubicBezTo>
                  <a:close/>
                  <a:moveTo>
                    <a:pt x="1204" y="718"/>
                  </a:moveTo>
                  <a:cubicBezTo>
                    <a:pt x="1206" y="723"/>
                    <a:pt x="1213" y="718"/>
                    <a:pt x="1213" y="714"/>
                  </a:cubicBezTo>
                  <a:cubicBezTo>
                    <a:pt x="1209" y="714"/>
                    <a:pt x="1205" y="714"/>
                    <a:pt x="1204" y="718"/>
                  </a:cubicBezTo>
                  <a:close/>
                  <a:moveTo>
                    <a:pt x="1531" y="737"/>
                  </a:moveTo>
                  <a:cubicBezTo>
                    <a:pt x="1532" y="736"/>
                    <a:pt x="1531" y="733"/>
                    <a:pt x="1533" y="733"/>
                  </a:cubicBezTo>
                  <a:cubicBezTo>
                    <a:pt x="1535" y="736"/>
                    <a:pt x="1540" y="738"/>
                    <a:pt x="1541" y="742"/>
                  </a:cubicBezTo>
                  <a:cubicBezTo>
                    <a:pt x="1542" y="739"/>
                    <a:pt x="1543" y="742"/>
                    <a:pt x="1545" y="742"/>
                  </a:cubicBezTo>
                  <a:cubicBezTo>
                    <a:pt x="1549" y="732"/>
                    <a:pt x="1537" y="730"/>
                    <a:pt x="1535" y="723"/>
                  </a:cubicBezTo>
                  <a:cubicBezTo>
                    <a:pt x="1536" y="722"/>
                    <a:pt x="1537" y="721"/>
                    <a:pt x="1537" y="718"/>
                  </a:cubicBezTo>
                  <a:cubicBezTo>
                    <a:pt x="1533" y="717"/>
                    <a:pt x="1532" y="715"/>
                    <a:pt x="1529" y="715"/>
                  </a:cubicBezTo>
                  <a:cubicBezTo>
                    <a:pt x="1528" y="720"/>
                    <a:pt x="1533" y="721"/>
                    <a:pt x="1533" y="725"/>
                  </a:cubicBezTo>
                  <a:cubicBezTo>
                    <a:pt x="1530" y="725"/>
                    <a:pt x="1527" y="726"/>
                    <a:pt x="1525" y="726"/>
                  </a:cubicBezTo>
                  <a:cubicBezTo>
                    <a:pt x="1526" y="731"/>
                    <a:pt x="1521" y="730"/>
                    <a:pt x="1522" y="736"/>
                  </a:cubicBezTo>
                  <a:cubicBezTo>
                    <a:pt x="1526" y="735"/>
                    <a:pt x="1528" y="735"/>
                    <a:pt x="1531" y="737"/>
                  </a:cubicBezTo>
                  <a:close/>
                  <a:moveTo>
                    <a:pt x="1564" y="733"/>
                  </a:moveTo>
                  <a:cubicBezTo>
                    <a:pt x="1568" y="735"/>
                    <a:pt x="1571" y="742"/>
                    <a:pt x="1577" y="739"/>
                  </a:cubicBezTo>
                  <a:cubicBezTo>
                    <a:pt x="1576" y="734"/>
                    <a:pt x="1567" y="732"/>
                    <a:pt x="1564" y="733"/>
                  </a:cubicBezTo>
                  <a:close/>
                  <a:moveTo>
                    <a:pt x="1586" y="743"/>
                  </a:moveTo>
                  <a:cubicBezTo>
                    <a:pt x="1588" y="741"/>
                    <a:pt x="1585" y="738"/>
                    <a:pt x="1583" y="738"/>
                  </a:cubicBezTo>
                  <a:cubicBezTo>
                    <a:pt x="1583" y="741"/>
                    <a:pt x="1582" y="744"/>
                    <a:pt x="1586" y="743"/>
                  </a:cubicBezTo>
                  <a:close/>
                  <a:moveTo>
                    <a:pt x="1490" y="759"/>
                  </a:moveTo>
                  <a:cubicBezTo>
                    <a:pt x="1492" y="752"/>
                    <a:pt x="1491" y="747"/>
                    <a:pt x="1489" y="741"/>
                  </a:cubicBezTo>
                  <a:cubicBezTo>
                    <a:pt x="1486" y="741"/>
                    <a:pt x="1486" y="741"/>
                    <a:pt x="1486" y="741"/>
                  </a:cubicBezTo>
                  <a:cubicBezTo>
                    <a:pt x="1490" y="746"/>
                    <a:pt x="1484" y="755"/>
                    <a:pt x="1490" y="759"/>
                  </a:cubicBezTo>
                  <a:close/>
                  <a:moveTo>
                    <a:pt x="1559" y="743"/>
                  </a:moveTo>
                  <a:cubicBezTo>
                    <a:pt x="1551" y="740"/>
                    <a:pt x="1551" y="749"/>
                    <a:pt x="1554" y="752"/>
                  </a:cubicBezTo>
                  <a:cubicBezTo>
                    <a:pt x="1556" y="752"/>
                    <a:pt x="1557" y="752"/>
                    <a:pt x="1559" y="752"/>
                  </a:cubicBezTo>
                  <a:cubicBezTo>
                    <a:pt x="1561" y="749"/>
                    <a:pt x="1560" y="747"/>
                    <a:pt x="1559" y="743"/>
                  </a:cubicBezTo>
                  <a:close/>
                  <a:moveTo>
                    <a:pt x="1676" y="743"/>
                  </a:moveTo>
                  <a:cubicBezTo>
                    <a:pt x="1676" y="746"/>
                    <a:pt x="1675" y="749"/>
                    <a:pt x="1678" y="749"/>
                  </a:cubicBezTo>
                  <a:cubicBezTo>
                    <a:pt x="1677" y="747"/>
                    <a:pt x="1679" y="743"/>
                    <a:pt x="1676" y="743"/>
                  </a:cubicBezTo>
                  <a:close/>
                  <a:moveTo>
                    <a:pt x="1012" y="752"/>
                  </a:moveTo>
                  <a:cubicBezTo>
                    <a:pt x="1012" y="761"/>
                    <a:pt x="1021" y="761"/>
                    <a:pt x="1029" y="763"/>
                  </a:cubicBezTo>
                  <a:cubicBezTo>
                    <a:pt x="1027" y="755"/>
                    <a:pt x="1019" y="754"/>
                    <a:pt x="1012" y="752"/>
                  </a:cubicBezTo>
                  <a:close/>
                  <a:moveTo>
                    <a:pt x="1031" y="767"/>
                  </a:moveTo>
                  <a:cubicBezTo>
                    <a:pt x="1025" y="778"/>
                    <a:pt x="1040" y="782"/>
                    <a:pt x="1046" y="776"/>
                  </a:cubicBezTo>
                  <a:cubicBezTo>
                    <a:pt x="1045" y="769"/>
                    <a:pt x="1039" y="767"/>
                    <a:pt x="1031" y="767"/>
                  </a:cubicBezTo>
                  <a:close/>
                  <a:moveTo>
                    <a:pt x="1581" y="1055"/>
                  </a:moveTo>
                  <a:cubicBezTo>
                    <a:pt x="1581" y="1036"/>
                    <a:pt x="1576" y="1014"/>
                    <a:pt x="1569" y="999"/>
                  </a:cubicBezTo>
                  <a:cubicBezTo>
                    <a:pt x="1556" y="993"/>
                    <a:pt x="1559" y="974"/>
                    <a:pt x="1555" y="960"/>
                  </a:cubicBezTo>
                  <a:cubicBezTo>
                    <a:pt x="1564" y="957"/>
                    <a:pt x="1561" y="938"/>
                    <a:pt x="1557" y="932"/>
                  </a:cubicBezTo>
                  <a:cubicBezTo>
                    <a:pt x="1555" y="935"/>
                    <a:pt x="1552" y="938"/>
                    <a:pt x="1550" y="941"/>
                  </a:cubicBezTo>
                  <a:cubicBezTo>
                    <a:pt x="1548" y="936"/>
                    <a:pt x="1554" y="933"/>
                    <a:pt x="1555" y="928"/>
                  </a:cubicBezTo>
                  <a:cubicBezTo>
                    <a:pt x="1552" y="925"/>
                    <a:pt x="1547" y="924"/>
                    <a:pt x="1546" y="919"/>
                  </a:cubicBezTo>
                  <a:cubicBezTo>
                    <a:pt x="1551" y="919"/>
                    <a:pt x="1548" y="912"/>
                    <a:pt x="1550" y="910"/>
                  </a:cubicBezTo>
                  <a:cubicBezTo>
                    <a:pt x="1549" y="908"/>
                    <a:pt x="1546" y="909"/>
                    <a:pt x="1546" y="908"/>
                  </a:cubicBezTo>
                  <a:cubicBezTo>
                    <a:pt x="1548" y="903"/>
                    <a:pt x="1547" y="896"/>
                    <a:pt x="1542" y="895"/>
                  </a:cubicBezTo>
                  <a:cubicBezTo>
                    <a:pt x="1544" y="888"/>
                    <a:pt x="1540" y="879"/>
                    <a:pt x="1537" y="874"/>
                  </a:cubicBezTo>
                  <a:cubicBezTo>
                    <a:pt x="1532" y="875"/>
                    <a:pt x="1535" y="884"/>
                    <a:pt x="1527" y="882"/>
                  </a:cubicBezTo>
                  <a:cubicBezTo>
                    <a:pt x="1524" y="885"/>
                    <a:pt x="1525" y="892"/>
                    <a:pt x="1523" y="896"/>
                  </a:cubicBezTo>
                  <a:cubicBezTo>
                    <a:pt x="1524" y="891"/>
                    <a:pt x="1522" y="889"/>
                    <a:pt x="1522" y="885"/>
                  </a:cubicBezTo>
                  <a:cubicBezTo>
                    <a:pt x="1517" y="887"/>
                    <a:pt x="1514" y="882"/>
                    <a:pt x="1512" y="879"/>
                  </a:cubicBezTo>
                  <a:cubicBezTo>
                    <a:pt x="1514" y="878"/>
                    <a:pt x="1517" y="878"/>
                    <a:pt x="1518" y="877"/>
                  </a:cubicBezTo>
                  <a:cubicBezTo>
                    <a:pt x="1521" y="869"/>
                    <a:pt x="1518" y="865"/>
                    <a:pt x="1515" y="860"/>
                  </a:cubicBezTo>
                  <a:cubicBezTo>
                    <a:pt x="1523" y="842"/>
                    <a:pt x="1502" y="838"/>
                    <a:pt x="1497" y="827"/>
                  </a:cubicBezTo>
                  <a:cubicBezTo>
                    <a:pt x="1500" y="828"/>
                    <a:pt x="1502" y="830"/>
                    <a:pt x="1507" y="829"/>
                  </a:cubicBezTo>
                  <a:cubicBezTo>
                    <a:pt x="1507" y="826"/>
                    <a:pt x="1507" y="824"/>
                    <a:pt x="1506" y="821"/>
                  </a:cubicBezTo>
                  <a:cubicBezTo>
                    <a:pt x="1502" y="822"/>
                    <a:pt x="1501" y="820"/>
                    <a:pt x="1498" y="819"/>
                  </a:cubicBezTo>
                  <a:cubicBezTo>
                    <a:pt x="1496" y="819"/>
                    <a:pt x="1497" y="823"/>
                    <a:pt x="1494" y="822"/>
                  </a:cubicBezTo>
                  <a:cubicBezTo>
                    <a:pt x="1484" y="819"/>
                    <a:pt x="1477" y="823"/>
                    <a:pt x="1469" y="817"/>
                  </a:cubicBezTo>
                  <a:cubicBezTo>
                    <a:pt x="1465" y="814"/>
                    <a:pt x="1464" y="808"/>
                    <a:pt x="1458" y="814"/>
                  </a:cubicBezTo>
                  <a:cubicBezTo>
                    <a:pt x="1457" y="820"/>
                    <a:pt x="1461" y="821"/>
                    <a:pt x="1460" y="828"/>
                  </a:cubicBezTo>
                  <a:cubicBezTo>
                    <a:pt x="1461" y="830"/>
                    <a:pt x="1466" y="829"/>
                    <a:pt x="1466" y="833"/>
                  </a:cubicBezTo>
                  <a:cubicBezTo>
                    <a:pt x="1462" y="840"/>
                    <a:pt x="1468" y="844"/>
                    <a:pt x="1466" y="854"/>
                  </a:cubicBezTo>
                  <a:cubicBezTo>
                    <a:pt x="1456" y="857"/>
                    <a:pt x="1451" y="864"/>
                    <a:pt x="1436" y="862"/>
                  </a:cubicBezTo>
                  <a:cubicBezTo>
                    <a:pt x="1433" y="864"/>
                    <a:pt x="1431" y="868"/>
                    <a:pt x="1426" y="869"/>
                  </a:cubicBezTo>
                  <a:cubicBezTo>
                    <a:pt x="1418" y="865"/>
                    <a:pt x="1419" y="861"/>
                    <a:pt x="1418" y="851"/>
                  </a:cubicBezTo>
                  <a:cubicBezTo>
                    <a:pt x="1415" y="830"/>
                    <a:pt x="1420" y="808"/>
                    <a:pt x="1416" y="790"/>
                  </a:cubicBezTo>
                  <a:cubicBezTo>
                    <a:pt x="1416" y="787"/>
                    <a:pt x="1418" y="786"/>
                    <a:pt x="1419" y="783"/>
                  </a:cubicBezTo>
                  <a:cubicBezTo>
                    <a:pt x="1416" y="778"/>
                    <a:pt x="1412" y="769"/>
                    <a:pt x="1405" y="776"/>
                  </a:cubicBezTo>
                  <a:cubicBezTo>
                    <a:pt x="1404" y="786"/>
                    <a:pt x="1396" y="797"/>
                    <a:pt x="1394" y="809"/>
                  </a:cubicBezTo>
                  <a:cubicBezTo>
                    <a:pt x="1391" y="804"/>
                    <a:pt x="1388" y="808"/>
                    <a:pt x="1382" y="808"/>
                  </a:cubicBezTo>
                  <a:cubicBezTo>
                    <a:pt x="1377" y="812"/>
                    <a:pt x="1380" y="819"/>
                    <a:pt x="1378" y="826"/>
                  </a:cubicBezTo>
                  <a:cubicBezTo>
                    <a:pt x="1377" y="832"/>
                    <a:pt x="1370" y="835"/>
                    <a:pt x="1369" y="840"/>
                  </a:cubicBezTo>
                  <a:cubicBezTo>
                    <a:pt x="1366" y="851"/>
                    <a:pt x="1369" y="858"/>
                    <a:pt x="1360" y="862"/>
                  </a:cubicBezTo>
                  <a:cubicBezTo>
                    <a:pt x="1353" y="864"/>
                    <a:pt x="1349" y="860"/>
                    <a:pt x="1342" y="866"/>
                  </a:cubicBezTo>
                  <a:cubicBezTo>
                    <a:pt x="1342" y="871"/>
                    <a:pt x="1340" y="871"/>
                    <a:pt x="1342" y="874"/>
                  </a:cubicBezTo>
                  <a:cubicBezTo>
                    <a:pt x="1340" y="876"/>
                    <a:pt x="1337" y="876"/>
                    <a:pt x="1335" y="877"/>
                  </a:cubicBezTo>
                  <a:cubicBezTo>
                    <a:pt x="1334" y="880"/>
                    <a:pt x="1334" y="884"/>
                    <a:pt x="1334" y="887"/>
                  </a:cubicBezTo>
                  <a:cubicBezTo>
                    <a:pt x="1331" y="881"/>
                    <a:pt x="1326" y="888"/>
                    <a:pt x="1322" y="888"/>
                  </a:cubicBezTo>
                  <a:cubicBezTo>
                    <a:pt x="1321" y="893"/>
                    <a:pt x="1324" y="894"/>
                    <a:pt x="1325" y="896"/>
                  </a:cubicBezTo>
                  <a:cubicBezTo>
                    <a:pt x="1319" y="898"/>
                    <a:pt x="1319" y="906"/>
                    <a:pt x="1311" y="907"/>
                  </a:cubicBezTo>
                  <a:cubicBezTo>
                    <a:pt x="1310" y="909"/>
                    <a:pt x="1309" y="912"/>
                    <a:pt x="1308" y="915"/>
                  </a:cubicBezTo>
                  <a:cubicBezTo>
                    <a:pt x="1305" y="915"/>
                    <a:pt x="1304" y="917"/>
                    <a:pt x="1302" y="917"/>
                  </a:cubicBezTo>
                  <a:cubicBezTo>
                    <a:pt x="1297" y="923"/>
                    <a:pt x="1300" y="933"/>
                    <a:pt x="1299" y="942"/>
                  </a:cubicBezTo>
                  <a:cubicBezTo>
                    <a:pt x="1298" y="946"/>
                    <a:pt x="1294" y="949"/>
                    <a:pt x="1294" y="953"/>
                  </a:cubicBezTo>
                  <a:cubicBezTo>
                    <a:pt x="1293" y="960"/>
                    <a:pt x="1297" y="971"/>
                    <a:pt x="1298" y="983"/>
                  </a:cubicBezTo>
                  <a:cubicBezTo>
                    <a:pt x="1298" y="992"/>
                    <a:pt x="1297" y="1002"/>
                    <a:pt x="1300" y="1008"/>
                  </a:cubicBezTo>
                  <a:cubicBezTo>
                    <a:pt x="1301" y="1011"/>
                    <a:pt x="1304" y="1012"/>
                    <a:pt x="1305" y="1014"/>
                  </a:cubicBezTo>
                  <a:cubicBezTo>
                    <a:pt x="1302" y="1024"/>
                    <a:pt x="1309" y="1029"/>
                    <a:pt x="1309" y="1038"/>
                  </a:cubicBezTo>
                  <a:cubicBezTo>
                    <a:pt x="1309" y="1039"/>
                    <a:pt x="1307" y="1042"/>
                    <a:pt x="1307" y="1043"/>
                  </a:cubicBezTo>
                  <a:cubicBezTo>
                    <a:pt x="1306" y="1051"/>
                    <a:pt x="1310" y="1059"/>
                    <a:pt x="1310" y="1066"/>
                  </a:cubicBezTo>
                  <a:cubicBezTo>
                    <a:pt x="1310" y="1071"/>
                    <a:pt x="1306" y="1075"/>
                    <a:pt x="1307" y="1080"/>
                  </a:cubicBezTo>
                  <a:cubicBezTo>
                    <a:pt x="1308" y="1085"/>
                    <a:pt x="1315" y="1089"/>
                    <a:pt x="1320" y="1089"/>
                  </a:cubicBezTo>
                  <a:cubicBezTo>
                    <a:pt x="1319" y="1099"/>
                    <a:pt x="1324" y="1104"/>
                    <a:pt x="1325" y="1112"/>
                  </a:cubicBezTo>
                  <a:cubicBezTo>
                    <a:pt x="1333" y="1111"/>
                    <a:pt x="1334" y="1105"/>
                    <a:pt x="1340" y="1103"/>
                  </a:cubicBezTo>
                  <a:cubicBezTo>
                    <a:pt x="1339" y="1107"/>
                    <a:pt x="1340" y="1114"/>
                    <a:pt x="1344" y="1119"/>
                  </a:cubicBezTo>
                  <a:cubicBezTo>
                    <a:pt x="1350" y="1118"/>
                    <a:pt x="1354" y="1117"/>
                    <a:pt x="1357" y="1122"/>
                  </a:cubicBezTo>
                  <a:cubicBezTo>
                    <a:pt x="1362" y="1119"/>
                    <a:pt x="1370" y="1120"/>
                    <a:pt x="1374" y="1116"/>
                  </a:cubicBezTo>
                  <a:cubicBezTo>
                    <a:pt x="1376" y="1113"/>
                    <a:pt x="1374" y="1110"/>
                    <a:pt x="1374" y="1105"/>
                  </a:cubicBezTo>
                  <a:cubicBezTo>
                    <a:pt x="1377" y="1102"/>
                    <a:pt x="1382" y="1100"/>
                    <a:pt x="1383" y="1095"/>
                  </a:cubicBezTo>
                  <a:cubicBezTo>
                    <a:pt x="1385" y="1095"/>
                    <a:pt x="1387" y="1096"/>
                    <a:pt x="1390" y="1096"/>
                  </a:cubicBezTo>
                  <a:cubicBezTo>
                    <a:pt x="1392" y="1092"/>
                    <a:pt x="1388" y="1082"/>
                    <a:pt x="1396" y="1083"/>
                  </a:cubicBezTo>
                  <a:cubicBezTo>
                    <a:pt x="1393" y="1089"/>
                    <a:pt x="1393" y="1098"/>
                    <a:pt x="1400" y="1098"/>
                  </a:cubicBezTo>
                  <a:cubicBezTo>
                    <a:pt x="1398" y="1083"/>
                    <a:pt x="1403" y="1071"/>
                    <a:pt x="1400" y="1061"/>
                  </a:cubicBezTo>
                  <a:cubicBezTo>
                    <a:pt x="1409" y="1068"/>
                    <a:pt x="1402" y="1082"/>
                    <a:pt x="1408" y="1092"/>
                  </a:cubicBezTo>
                  <a:cubicBezTo>
                    <a:pt x="1407" y="1095"/>
                    <a:pt x="1403" y="1097"/>
                    <a:pt x="1405" y="1101"/>
                  </a:cubicBezTo>
                  <a:cubicBezTo>
                    <a:pt x="1410" y="1101"/>
                    <a:pt x="1411" y="1101"/>
                    <a:pt x="1414" y="1099"/>
                  </a:cubicBezTo>
                  <a:cubicBezTo>
                    <a:pt x="1409" y="1091"/>
                    <a:pt x="1420" y="1086"/>
                    <a:pt x="1425" y="1085"/>
                  </a:cubicBezTo>
                  <a:cubicBezTo>
                    <a:pt x="1426" y="1082"/>
                    <a:pt x="1425" y="1079"/>
                    <a:pt x="1427" y="1076"/>
                  </a:cubicBezTo>
                  <a:cubicBezTo>
                    <a:pt x="1435" y="1075"/>
                    <a:pt x="1440" y="1076"/>
                    <a:pt x="1447" y="1075"/>
                  </a:cubicBezTo>
                  <a:cubicBezTo>
                    <a:pt x="1456" y="1082"/>
                    <a:pt x="1462" y="1092"/>
                    <a:pt x="1465" y="1105"/>
                  </a:cubicBezTo>
                  <a:cubicBezTo>
                    <a:pt x="1473" y="1104"/>
                    <a:pt x="1471" y="1113"/>
                    <a:pt x="1473" y="1118"/>
                  </a:cubicBezTo>
                  <a:cubicBezTo>
                    <a:pt x="1475" y="1122"/>
                    <a:pt x="1479" y="1122"/>
                    <a:pt x="1479" y="1126"/>
                  </a:cubicBezTo>
                  <a:cubicBezTo>
                    <a:pt x="1480" y="1132"/>
                    <a:pt x="1473" y="1139"/>
                    <a:pt x="1475" y="1146"/>
                  </a:cubicBezTo>
                  <a:cubicBezTo>
                    <a:pt x="1481" y="1150"/>
                    <a:pt x="1484" y="1156"/>
                    <a:pt x="1486" y="1164"/>
                  </a:cubicBezTo>
                  <a:cubicBezTo>
                    <a:pt x="1486" y="1166"/>
                    <a:pt x="1491" y="1164"/>
                    <a:pt x="1491" y="1167"/>
                  </a:cubicBezTo>
                  <a:cubicBezTo>
                    <a:pt x="1490" y="1178"/>
                    <a:pt x="1489" y="1185"/>
                    <a:pt x="1492" y="1195"/>
                  </a:cubicBezTo>
                  <a:cubicBezTo>
                    <a:pt x="1495" y="1195"/>
                    <a:pt x="1499" y="1197"/>
                    <a:pt x="1506" y="1198"/>
                  </a:cubicBezTo>
                  <a:cubicBezTo>
                    <a:pt x="1510" y="1193"/>
                    <a:pt x="1509" y="1192"/>
                    <a:pt x="1508" y="1185"/>
                  </a:cubicBezTo>
                  <a:cubicBezTo>
                    <a:pt x="1514" y="1178"/>
                    <a:pt x="1514" y="1168"/>
                    <a:pt x="1520" y="1161"/>
                  </a:cubicBezTo>
                  <a:cubicBezTo>
                    <a:pt x="1523" y="1159"/>
                    <a:pt x="1527" y="1158"/>
                    <a:pt x="1530" y="1155"/>
                  </a:cubicBezTo>
                  <a:cubicBezTo>
                    <a:pt x="1531" y="1154"/>
                    <a:pt x="1530" y="1152"/>
                    <a:pt x="1531" y="1150"/>
                  </a:cubicBezTo>
                  <a:cubicBezTo>
                    <a:pt x="1532" y="1148"/>
                    <a:pt x="1536" y="1145"/>
                    <a:pt x="1539" y="1142"/>
                  </a:cubicBezTo>
                  <a:cubicBezTo>
                    <a:pt x="1544" y="1134"/>
                    <a:pt x="1542" y="1131"/>
                    <a:pt x="1550" y="1129"/>
                  </a:cubicBezTo>
                  <a:cubicBezTo>
                    <a:pt x="1552" y="1117"/>
                    <a:pt x="1566" y="1116"/>
                    <a:pt x="1565" y="1102"/>
                  </a:cubicBezTo>
                  <a:cubicBezTo>
                    <a:pt x="1563" y="1101"/>
                    <a:pt x="1561" y="1105"/>
                    <a:pt x="1561" y="1103"/>
                  </a:cubicBezTo>
                  <a:cubicBezTo>
                    <a:pt x="1566" y="1095"/>
                    <a:pt x="1575" y="1091"/>
                    <a:pt x="1574" y="1078"/>
                  </a:cubicBezTo>
                  <a:cubicBezTo>
                    <a:pt x="1581" y="1073"/>
                    <a:pt x="1583" y="1059"/>
                    <a:pt x="1583" y="1051"/>
                  </a:cubicBezTo>
                  <a:cubicBezTo>
                    <a:pt x="1581" y="1051"/>
                    <a:pt x="1583" y="1054"/>
                    <a:pt x="1581" y="1055"/>
                  </a:cubicBezTo>
                  <a:close/>
                  <a:moveTo>
                    <a:pt x="1508" y="774"/>
                  </a:moveTo>
                  <a:cubicBezTo>
                    <a:pt x="1505" y="780"/>
                    <a:pt x="1512" y="784"/>
                    <a:pt x="1516" y="787"/>
                  </a:cubicBezTo>
                  <a:cubicBezTo>
                    <a:pt x="1516" y="780"/>
                    <a:pt x="1513" y="776"/>
                    <a:pt x="1508" y="774"/>
                  </a:cubicBezTo>
                  <a:close/>
                  <a:moveTo>
                    <a:pt x="1706" y="787"/>
                  </a:moveTo>
                  <a:cubicBezTo>
                    <a:pt x="1705" y="795"/>
                    <a:pt x="1703" y="802"/>
                    <a:pt x="1700" y="808"/>
                  </a:cubicBezTo>
                  <a:cubicBezTo>
                    <a:pt x="1697" y="806"/>
                    <a:pt x="1698" y="806"/>
                    <a:pt x="1696" y="803"/>
                  </a:cubicBezTo>
                  <a:cubicBezTo>
                    <a:pt x="1697" y="809"/>
                    <a:pt x="1694" y="820"/>
                    <a:pt x="1690" y="816"/>
                  </a:cubicBezTo>
                  <a:cubicBezTo>
                    <a:pt x="1691" y="824"/>
                    <a:pt x="1689" y="828"/>
                    <a:pt x="1689" y="835"/>
                  </a:cubicBezTo>
                  <a:cubicBezTo>
                    <a:pt x="1687" y="834"/>
                    <a:pt x="1687" y="832"/>
                    <a:pt x="1685" y="832"/>
                  </a:cubicBezTo>
                  <a:cubicBezTo>
                    <a:pt x="1684" y="835"/>
                    <a:pt x="1685" y="839"/>
                    <a:pt x="1683" y="840"/>
                  </a:cubicBezTo>
                  <a:cubicBezTo>
                    <a:pt x="1681" y="837"/>
                    <a:pt x="1683" y="829"/>
                    <a:pt x="1680" y="827"/>
                  </a:cubicBezTo>
                  <a:cubicBezTo>
                    <a:pt x="1677" y="832"/>
                    <a:pt x="1673" y="839"/>
                    <a:pt x="1675" y="845"/>
                  </a:cubicBezTo>
                  <a:cubicBezTo>
                    <a:pt x="1677" y="846"/>
                    <a:pt x="1678" y="842"/>
                    <a:pt x="1679" y="845"/>
                  </a:cubicBezTo>
                  <a:cubicBezTo>
                    <a:pt x="1674" y="855"/>
                    <a:pt x="1676" y="872"/>
                    <a:pt x="1671" y="885"/>
                  </a:cubicBezTo>
                  <a:cubicBezTo>
                    <a:pt x="1670" y="880"/>
                    <a:pt x="1664" y="879"/>
                    <a:pt x="1661" y="875"/>
                  </a:cubicBezTo>
                  <a:cubicBezTo>
                    <a:pt x="1660" y="877"/>
                    <a:pt x="1659" y="879"/>
                    <a:pt x="1657" y="880"/>
                  </a:cubicBezTo>
                  <a:cubicBezTo>
                    <a:pt x="1655" y="876"/>
                    <a:pt x="1652" y="874"/>
                    <a:pt x="1649" y="872"/>
                  </a:cubicBezTo>
                  <a:cubicBezTo>
                    <a:pt x="1649" y="869"/>
                    <a:pt x="1650" y="865"/>
                    <a:pt x="1648" y="863"/>
                  </a:cubicBezTo>
                  <a:cubicBezTo>
                    <a:pt x="1643" y="867"/>
                    <a:pt x="1642" y="863"/>
                    <a:pt x="1637" y="862"/>
                  </a:cubicBezTo>
                  <a:cubicBezTo>
                    <a:pt x="1635" y="865"/>
                    <a:pt x="1638" y="874"/>
                    <a:pt x="1633" y="874"/>
                  </a:cubicBezTo>
                  <a:cubicBezTo>
                    <a:pt x="1633" y="870"/>
                    <a:pt x="1633" y="871"/>
                    <a:pt x="1633" y="866"/>
                  </a:cubicBezTo>
                  <a:cubicBezTo>
                    <a:pt x="1629" y="865"/>
                    <a:pt x="1628" y="864"/>
                    <a:pt x="1625" y="867"/>
                  </a:cubicBezTo>
                  <a:cubicBezTo>
                    <a:pt x="1625" y="864"/>
                    <a:pt x="1623" y="863"/>
                    <a:pt x="1621" y="862"/>
                  </a:cubicBezTo>
                  <a:cubicBezTo>
                    <a:pt x="1620" y="864"/>
                    <a:pt x="1619" y="871"/>
                    <a:pt x="1621" y="873"/>
                  </a:cubicBezTo>
                  <a:cubicBezTo>
                    <a:pt x="1624" y="874"/>
                    <a:pt x="1623" y="871"/>
                    <a:pt x="1625" y="870"/>
                  </a:cubicBezTo>
                  <a:cubicBezTo>
                    <a:pt x="1627" y="874"/>
                    <a:pt x="1623" y="876"/>
                    <a:pt x="1623" y="880"/>
                  </a:cubicBezTo>
                  <a:cubicBezTo>
                    <a:pt x="1623" y="882"/>
                    <a:pt x="1626" y="882"/>
                    <a:pt x="1626" y="885"/>
                  </a:cubicBezTo>
                  <a:cubicBezTo>
                    <a:pt x="1629" y="884"/>
                    <a:pt x="1630" y="882"/>
                    <a:pt x="1634" y="882"/>
                  </a:cubicBezTo>
                  <a:cubicBezTo>
                    <a:pt x="1637" y="885"/>
                    <a:pt x="1639" y="889"/>
                    <a:pt x="1644" y="890"/>
                  </a:cubicBezTo>
                  <a:cubicBezTo>
                    <a:pt x="1648" y="891"/>
                    <a:pt x="1647" y="887"/>
                    <a:pt x="1650" y="887"/>
                  </a:cubicBezTo>
                  <a:cubicBezTo>
                    <a:pt x="1653" y="893"/>
                    <a:pt x="1658" y="898"/>
                    <a:pt x="1664" y="897"/>
                  </a:cubicBezTo>
                  <a:cubicBezTo>
                    <a:pt x="1665" y="899"/>
                    <a:pt x="1665" y="903"/>
                    <a:pt x="1667" y="904"/>
                  </a:cubicBezTo>
                  <a:cubicBezTo>
                    <a:pt x="1667" y="901"/>
                    <a:pt x="1668" y="899"/>
                    <a:pt x="1669" y="898"/>
                  </a:cubicBezTo>
                  <a:cubicBezTo>
                    <a:pt x="1669" y="900"/>
                    <a:pt x="1670" y="901"/>
                    <a:pt x="1671" y="902"/>
                  </a:cubicBezTo>
                  <a:cubicBezTo>
                    <a:pt x="1672" y="899"/>
                    <a:pt x="1669" y="888"/>
                    <a:pt x="1673" y="886"/>
                  </a:cubicBezTo>
                  <a:cubicBezTo>
                    <a:pt x="1673" y="890"/>
                    <a:pt x="1676" y="891"/>
                    <a:pt x="1677" y="894"/>
                  </a:cubicBezTo>
                  <a:cubicBezTo>
                    <a:pt x="1678" y="889"/>
                    <a:pt x="1683" y="887"/>
                    <a:pt x="1686" y="884"/>
                  </a:cubicBezTo>
                  <a:cubicBezTo>
                    <a:pt x="1692" y="874"/>
                    <a:pt x="1693" y="862"/>
                    <a:pt x="1697" y="850"/>
                  </a:cubicBezTo>
                  <a:cubicBezTo>
                    <a:pt x="1703" y="831"/>
                    <a:pt x="1713" y="807"/>
                    <a:pt x="1706" y="787"/>
                  </a:cubicBezTo>
                  <a:close/>
                  <a:moveTo>
                    <a:pt x="1682" y="843"/>
                  </a:moveTo>
                  <a:cubicBezTo>
                    <a:pt x="1680" y="843"/>
                    <a:pt x="1678" y="840"/>
                    <a:pt x="1680" y="839"/>
                  </a:cubicBezTo>
                  <a:cubicBezTo>
                    <a:pt x="1682" y="839"/>
                    <a:pt x="1682" y="841"/>
                    <a:pt x="1682" y="843"/>
                  </a:cubicBezTo>
                  <a:close/>
                  <a:moveTo>
                    <a:pt x="1550" y="804"/>
                  </a:moveTo>
                  <a:cubicBezTo>
                    <a:pt x="1553" y="805"/>
                    <a:pt x="1554" y="808"/>
                    <a:pt x="1557" y="810"/>
                  </a:cubicBezTo>
                  <a:cubicBezTo>
                    <a:pt x="1557" y="807"/>
                    <a:pt x="1557" y="804"/>
                    <a:pt x="1556" y="803"/>
                  </a:cubicBezTo>
                  <a:cubicBezTo>
                    <a:pt x="1554" y="804"/>
                    <a:pt x="1550" y="802"/>
                    <a:pt x="1550" y="804"/>
                  </a:cubicBezTo>
                  <a:close/>
                  <a:moveTo>
                    <a:pt x="1565" y="849"/>
                  </a:moveTo>
                  <a:cubicBezTo>
                    <a:pt x="1570" y="830"/>
                    <a:pt x="1554" y="815"/>
                    <a:pt x="1543" y="805"/>
                  </a:cubicBezTo>
                  <a:cubicBezTo>
                    <a:pt x="1542" y="811"/>
                    <a:pt x="1547" y="818"/>
                    <a:pt x="1548" y="824"/>
                  </a:cubicBezTo>
                  <a:cubicBezTo>
                    <a:pt x="1560" y="827"/>
                    <a:pt x="1556" y="844"/>
                    <a:pt x="1565" y="849"/>
                  </a:cubicBezTo>
                  <a:close/>
                  <a:moveTo>
                    <a:pt x="1596" y="815"/>
                  </a:moveTo>
                  <a:cubicBezTo>
                    <a:pt x="1596" y="812"/>
                    <a:pt x="1597" y="807"/>
                    <a:pt x="1594" y="807"/>
                  </a:cubicBezTo>
                  <a:cubicBezTo>
                    <a:pt x="1595" y="809"/>
                    <a:pt x="1592" y="815"/>
                    <a:pt x="1596" y="815"/>
                  </a:cubicBezTo>
                  <a:close/>
                  <a:moveTo>
                    <a:pt x="1686" y="817"/>
                  </a:moveTo>
                  <a:cubicBezTo>
                    <a:pt x="1687" y="815"/>
                    <a:pt x="1689" y="811"/>
                    <a:pt x="1685" y="811"/>
                  </a:cubicBezTo>
                  <a:cubicBezTo>
                    <a:pt x="1686" y="813"/>
                    <a:pt x="1684" y="817"/>
                    <a:pt x="1686" y="817"/>
                  </a:cubicBezTo>
                  <a:close/>
                  <a:moveTo>
                    <a:pt x="1584" y="835"/>
                  </a:moveTo>
                  <a:cubicBezTo>
                    <a:pt x="1582" y="832"/>
                    <a:pt x="1582" y="829"/>
                    <a:pt x="1577" y="830"/>
                  </a:cubicBezTo>
                  <a:cubicBezTo>
                    <a:pt x="1577" y="826"/>
                    <a:pt x="1575" y="823"/>
                    <a:pt x="1572" y="821"/>
                  </a:cubicBezTo>
                  <a:cubicBezTo>
                    <a:pt x="1571" y="837"/>
                    <a:pt x="1586" y="836"/>
                    <a:pt x="1589" y="848"/>
                  </a:cubicBezTo>
                  <a:cubicBezTo>
                    <a:pt x="1593" y="849"/>
                    <a:pt x="1592" y="849"/>
                    <a:pt x="1596" y="849"/>
                  </a:cubicBezTo>
                  <a:cubicBezTo>
                    <a:pt x="1593" y="844"/>
                    <a:pt x="1591" y="838"/>
                    <a:pt x="1588" y="833"/>
                  </a:cubicBezTo>
                  <a:cubicBezTo>
                    <a:pt x="1585" y="832"/>
                    <a:pt x="1586" y="834"/>
                    <a:pt x="1584" y="835"/>
                  </a:cubicBezTo>
                  <a:close/>
                  <a:moveTo>
                    <a:pt x="1190" y="823"/>
                  </a:moveTo>
                  <a:cubicBezTo>
                    <a:pt x="1178" y="826"/>
                    <a:pt x="1171" y="835"/>
                    <a:pt x="1162" y="841"/>
                  </a:cubicBezTo>
                  <a:cubicBezTo>
                    <a:pt x="1176" y="843"/>
                    <a:pt x="1186" y="834"/>
                    <a:pt x="1190" y="823"/>
                  </a:cubicBezTo>
                  <a:close/>
                  <a:moveTo>
                    <a:pt x="1513" y="836"/>
                  </a:moveTo>
                  <a:cubicBezTo>
                    <a:pt x="1515" y="833"/>
                    <a:pt x="1512" y="828"/>
                    <a:pt x="1510" y="827"/>
                  </a:cubicBezTo>
                  <a:cubicBezTo>
                    <a:pt x="1508" y="829"/>
                    <a:pt x="1509" y="835"/>
                    <a:pt x="1513" y="836"/>
                  </a:cubicBezTo>
                  <a:close/>
                  <a:moveTo>
                    <a:pt x="1669" y="831"/>
                  </a:moveTo>
                  <a:cubicBezTo>
                    <a:pt x="1667" y="834"/>
                    <a:pt x="1665" y="841"/>
                    <a:pt x="1671" y="841"/>
                  </a:cubicBezTo>
                  <a:cubicBezTo>
                    <a:pt x="1672" y="839"/>
                    <a:pt x="1674" y="830"/>
                    <a:pt x="1669" y="831"/>
                  </a:cubicBezTo>
                  <a:close/>
                  <a:moveTo>
                    <a:pt x="1704" y="836"/>
                  </a:moveTo>
                  <a:cubicBezTo>
                    <a:pt x="1705" y="840"/>
                    <a:pt x="1701" y="844"/>
                    <a:pt x="1704" y="847"/>
                  </a:cubicBezTo>
                  <a:cubicBezTo>
                    <a:pt x="1703" y="843"/>
                    <a:pt x="1708" y="837"/>
                    <a:pt x="1704" y="836"/>
                  </a:cubicBezTo>
                  <a:close/>
                  <a:moveTo>
                    <a:pt x="1607" y="846"/>
                  </a:moveTo>
                  <a:cubicBezTo>
                    <a:pt x="1604" y="845"/>
                    <a:pt x="1603" y="843"/>
                    <a:pt x="1600" y="842"/>
                  </a:cubicBezTo>
                  <a:cubicBezTo>
                    <a:pt x="1599" y="845"/>
                    <a:pt x="1598" y="851"/>
                    <a:pt x="1600" y="853"/>
                  </a:cubicBezTo>
                  <a:cubicBezTo>
                    <a:pt x="1604" y="853"/>
                    <a:pt x="1606" y="850"/>
                    <a:pt x="1607" y="846"/>
                  </a:cubicBezTo>
                  <a:close/>
                  <a:moveTo>
                    <a:pt x="1631" y="848"/>
                  </a:moveTo>
                  <a:cubicBezTo>
                    <a:pt x="1632" y="853"/>
                    <a:pt x="1632" y="858"/>
                    <a:pt x="1636" y="861"/>
                  </a:cubicBezTo>
                  <a:cubicBezTo>
                    <a:pt x="1638" y="856"/>
                    <a:pt x="1635" y="849"/>
                    <a:pt x="1631" y="848"/>
                  </a:cubicBezTo>
                  <a:close/>
                  <a:moveTo>
                    <a:pt x="1590" y="854"/>
                  </a:moveTo>
                  <a:cubicBezTo>
                    <a:pt x="1588" y="856"/>
                    <a:pt x="1585" y="858"/>
                    <a:pt x="1585" y="862"/>
                  </a:cubicBezTo>
                  <a:cubicBezTo>
                    <a:pt x="1586" y="863"/>
                    <a:pt x="1587" y="865"/>
                    <a:pt x="1589" y="865"/>
                  </a:cubicBezTo>
                  <a:cubicBezTo>
                    <a:pt x="1591" y="860"/>
                    <a:pt x="1592" y="864"/>
                    <a:pt x="1595" y="865"/>
                  </a:cubicBezTo>
                  <a:cubicBezTo>
                    <a:pt x="1597" y="865"/>
                    <a:pt x="1598" y="863"/>
                    <a:pt x="1598" y="861"/>
                  </a:cubicBezTo>
                  <a:cubicBezTo>
                    <a:pt x="1596" y="858"/>
                    <a:pt x="1593" y="856"/>
                    <a:pt x="1590" y="854"/>
                  </a:cubicBezTo>
                  <a:close/>
                  <a:moveTo>
                    <a:pt x="1604" y="854"/>
                  </a:moveTo>
                  <a:cubicBezTo>
                    <a:pt x="1600" y="860"/>
                    <a:pt x="1606" y="864"/>
                    <a:pt x="1609" y="867"/>
                  </a:cubicBezTo>
                  <a:cubicBezTo>
                    <a:pt x="1610" y="863"/>
                    <a:pt x="1612" y="867"/>
                    <a:pt x="1614" y="867"/>
                  </a:cubicBezTo>
                  <a:cubicBezTo>
                    <a:pt x="1614" y="863"/>
                    <a:pt x="1613" y="859"/>
                    <a:pt x="1612" y="856"/>
                  </a:cubicBezTo>
                  <a:cubicBezTo>
                    <a:pt x="1608" y="857"/>
                    <a:pt x="1608" y="855"/>
                    <a:pt x="1604" y="854"/>
                  </a:cubicBezTo>
                  <a:close/>
                  <a:moveTo>
                    <a:pt x="1616" y="858"/>
                  </a:moveTo>
                  <a:cubicBezTo>
                    <a:pt x="1615" y="860"/>
                    <a:pt x="1616" y="863"/>
                    <a:pt x="1619" y="863"/>
                  </a:cubicBezTo>
                  <a:cubicBezTo>
                    <a:pt x="1621" y="862"/>
                    <a:pt x="1620" y="857"/>
                    <a:pt x="1616" y="858"/>
                  </a:cubicBezTo>
                  <a:close/>
                  <a:moveTo>
                    <a:pt x="1693" y="877"/>
                  </a:moveTo>
                  <a:cubicBezTo>
                    <a:pt x="1694" y="880"/>
                    <a:pt x="1692" y="879"/>
                    <a:pt x="1692" y="882"/>
                  </a:cubicBezTo>
                  <a:cubicBezTo>
                    <a:pt x="1695" y="883"/>
                    <a:pt x="1697" y="876"/>
                    <a:pt x="1693" y="877"/>
                  </a:cubicBezTo>
                  <a:close/>
                  <a:moveTo>
                    <a:pt x="1121" y="1017"/>
                  </a:moveTo>
                  <a:cubicBezTo>
                    <a:pt x="1117" y="1003"/>
                    <a:pt x="1127" y="992"/>
                    <a:pt x="1132" y="979"/>
                  </a:cubicBezTo>
                  <a:cubicBezTo>
                    <a:pt x="1130" y="978"/>
                    <a:pt x="1130" y="977"/>
                    <a:pt x="1129" y="977"/>
                  </a:cubicBezTo>
                  <a:cubicBezTo>
                    <a:pt x="1125" y="984"/>
                    <a:pt x="1108" y="984"/>
                    <a:pt x="1116" y="998"/>
                  </a:cubicBezTo>
                  <a:cubicBezTo>
                    <a:pt x="1114" y="999"/>
                    <a:pt x="1113" y="1002"/>
                    <a:pt x="1111" y="1003"/>
                  </a:cubicBezTo>
                  <a:cubicBezTo>
                    <a:pt x="1111" y="999"/>
                    <a:pt x="1113" y="994"/>
                    <a:pt x="1108" y="995"/>
                  </a:cubicBezTo>
                  <a:cubicBezTo>
                    <a:pt x="1104" y="998"/>
                    <a:pt x="1111" y="1010"/>
                    <a:pt x="1105" y="1012"/>
                  </a:cubicBezTo>
                  <a:cubicBezTo>
                    <a:pt x="1099" y="1012"/>
                    <a:pt x="1095" y="1006"/>
                    <a:pt x="1089" y="1007"/>
                  </a:cubicBezTo>
                  <a:cubicBezTo>
                    <a:pt x="1089" y="1009"/>
                    <a:pt x="1089" y="1010"/>
                    <a:pt x="1088" y="1010"/>
                  </a:cubicBezTo>
                  <a:cubicBezTo>
                    <a:pt x="1089" y="1015"/>
                    <a:pt x="1096" y="1014"/>
                    <a:pt x="1094" y="1021"/>
                  </a:cubicBezTo>
                  <a:cubicBezTo>
                    <a:pt x="1101" y="1020"/>
                    <a:pt x="1097" y="1026"/>
                    <a:pt x="1099" y="1029"/>
                  </a:cubicBezTo>
                  <a:cubicBezTo>
                    <a:pt x="1103" y="1028"/>
                    <a:pt x="1107" y="1028"/>
                    <a:pt x="1108" y="1031"/>
                  </a:cubicBezTo>
                  <a:cubicBezTo>
                    <a:pt x="1109" y="1034"/>
                    <a:pt x="1107" y="1034"/>
                    <a:pt x="1108" y="1036"/>
                  </a:cubicBezTo>
                  <a:cubicBezTo>
                    <a:pt x="1109" y="1041"/>
                    <a:pt x="1115" y="1043"/>
                    <a:pt x="1119" y="1049"/>
                  </a:cubicBezTo>
                  <a:cubicBezTo>
                    <a:pt x="1122" y="1054"/>
                    <a:pt x="1123" y="1064"/>
                    <a:pt x="1132" y="1061"/>
                  </a:cubicBezTo>
                  <a:cubicBezTo>
                    <a:pt x="1134" y="1053"/>
                    <a:pt x="1126" y="1055"/>
                    <a:pt x="1126" y="1050"/>
                  </a:cubicBezTo>
                  <a:cubicBezTo>
                    <a:pt x="1126" y="1047"/>
                    <a:pt x="1126" y="1044"/>
                    <a:pt x="1129" y="1043"/>
                  </a:cubicBezTo>
                  <a:cubicBezTo>
                    <a:pt x="1135" y="1043"/>
                    <a:pt x="1135" y="1043"/>
                    <a:pt x="1135" y="1043"/>
                  </a:cubicBezTo>
                  <a:cubicBezTo>
                    <a:pt x="1137" y="1041"/>
                    <a:pt x="1138" y="1038"/>
                    <a:pt x="1138" y="1035"/>
                  </a:cubicBezTo>
                  <a:cubicBezTo>
                    <a:pt x="1132" y="1030"/>
                    <a:pt x="1127" y="1023"/>
                    <a:pt x="1121" y="1017"/>
                  </a:cubicBezTo>
                  <a:close/>
                  <a:moveTo>
                    <a:pt x="1194" y="1114"/>
                  </a:moveTo>
                  <a:cubicBezTo>
                    <a:pt x="1189" y="1106"/>
                    <a:pt x="1180" y="1101"/>
                    <a:pt x="1175" y="1094"/>
                  </a:cubicBezTo>
                  <a:cubicBezTo>
                    <a:pt x="1174" y="1092"/>
                    <a:pt x="1174" y="1090"/>
                    <a:pt x="1172" y="1087"/>
                  </a:cubicBezTo>
                  <a:cubicBezTo>
                    <a:pt x="1169" y="1083"/>
                    <a:pt x="1164" y="1082"/>
                    <a:pt x="1163" y="1079"/>
                  </a:cubicBezTo>
                  <a:cubicBezTo>
                    <a:pt x="1160" y="1069"/>
                    <a:pt x="1155" y="1062"/>
                    <a:pt x="1149" y="1055"/>
                  </a:cubicBezTo>
                  <a:cubicBezTo>
                    <a:pt x="1147" y="1057"/>
                    <a:pt x="1145" y="1058"/>
                    <a:pt x="1143" y="1060"/>
                  </a:cubicBezTo>
                  <a:cubicBezTo>
                    <a:pt x="1142" y="1059"/>
                    <a:pt x="1143" y="1057"/>
                    <a:pt x="1140" y="1057"/>
                  </a:cubicBezTo>
                  <a:cubicBezTo>
                    <a:pt x="1133" y="1073"/>
                    <a:pt x="1158" y="1081"/>
                    <a:pt x="1152" y="1096"/>
                  </a:cubicBezTo>
                  <a:cubicBezTo>
                    <a:pt x="1155" y="1097"/>
                    <a:pt x="1156" y="1097"/>
                    <a:pt x="1159" y="1097"/>
                  </a:cubicBezTo>
                  <a:cubicBezTo>
                    <a:pt x="1160" y="1103"/>
                    <a:pt x="1166" y="1106"/>
                    <a:pt x="1167" y="1111"/>
                  </a:cubicBezTo>
                  <a:cubicBezTo>
                    <a:pt x="1167" y="1112"/>
                    <a:pt x="1165" y="1113"/>
                    <a:pt x="1166" y="1114"/>
                  </a:cubicBezTo>
                  <a:cubicBezTo>
                    <a:pt x="1168" y="1117"/>
                    <a:pt x="1173" y="1119"/>
                    <a:pt x="1170" y="1125"/>
                  </a:cubicBezTo>
                  <a:cubicBezTo>
                    <a:pt x="1173" y="1127"/>
                    <a:pt x="1176" y="1130"/>
                    <a:pt x="1177" y="1135"/>
                  </a:cubicBezTo>
                  <a:cubicBezTo>
                    <a:pt x="1185" y="1138"/>
                    <a:pt x="1193" y="1135"/>
                    <a:pt x="1201" y="1139"/>
                  </a:cubicBezTo>
                  <a:cubicBezTo>
                    <a:pt x="1202" y="1136"/>
                    <a:pt x="1204" y="1135"/>
                    <a:pt x="1205" y="1133"/>
                  </a:cubicBezTo>
                  <a:cubicBezTo>
                    <a:pt x="1198" y="1129"/>
                    <a:pt x="1198" y="1121"/>
                    <a:pt x="1194" y="1114"/>
                  </a:cubicBezTo>
                  <a:close/>
                  <a:moveTo>
                    <a:pt x="1073" y="1080"/>
                  </a:moveTo>
                  <a:cubicBezTo>
                    <a:pt x="1077" y="1081"/>
                    <a:pt x="1078" y="1078"/>
                    <a:pt x="1079" y="1074"/>
                  </a:cubicBezTo>
                  <a:cubicBezTo>
                    <a:pt x="1077" y="1073"/>
                    <a:pt x="1076" y="1072"/>
                    <a:pt x="1074" y="1072"/>
                  </a:cubicBezTo>
                  <a:cubicBezTo>
                    <a:pt x="1073" y="1074"/>
                    <a:pt x="1071" y="1078"/>
                    <a:pt x="1073" y="1080"/>
                  </a:cubicBezTo>
                  <a:close/>
                  <a:moveTo>
                    <a:pt x="1399" y="1111"/>
                  </a:moveTo>
                  <a:cubicBezTo>
                    <a:pt x="1401" y="1111"/>
                    <a:pt x="1401" y="1110"/>
                    <a:pt x="1402" y="1110"/>
                  </a:cubicBezTo>
                  <a:cubicBezTo>
                    <a:pt x="1402" y="1109"/>
                    <a:pt x="1402" y="1107"/>
                    <a:pt x="1402" y="1105"/>
                  </a:cubicBezTo>
                  <a:cubicBezTo>
                    <a:pt x="1401" y="1103"/>
                    <a:pt x="1396" y="1104"/>
                    <a:pt x="1394" y="1103"/>
                  </a:cubicBezTo>
                  <a:cubicBezTo>
                    <a:pt x="1395" y="1106"/>
                    <a:pt x="1396" y="1110"/>
                    <a:pt x="1399" y="1111"/>
                  </a:cubicBezTo>
                  <a:close/>
                  <a:moveTo>
                    <a:pt x="1321" y="1124"/>
                  </a:moveTo>
                  <a:cubicBezTo>
                    <a:pt x="1324" y="1124"/>
                    <a:pt x="1324" y="1121"/>
                    <a:pt x="1324" y="1118"/>
                  </a:cubicBezTo>
                  <a:cubicBezTo>
                    <a:pt x="1321" y="1118"/>
                    <a:pt x="1319" y="1120"/>
                    <a:pt x="1319" y="1123"/>
                  </a:cubicBezTo>
                  <a:cubicBezTo>
                    <a:pt x="1319" y="1123"/>
                    <a:pt x="1321" y="1123"/>
                    <a:pt x="1321" y="1124"/>
                  </a:cubicBezTo>
                  <a:close/>
                  <a:moveTo>
                    <a:pt x="1318" y="1124"/>
                  </a:moveTo>
                  <a:cubicBezTo>
                    <a:pt x="1315" y="1123"/>
                    <a:pt x="1315" y="1125"/>
                    <a:pt x="1315" y="1127"/>
                  </a:cubicBezTo>
                  <a:cubicBezTo>
                    <a:pt x="1317" y="1128"/>
                    <a:pt x="1318" y="1126"/>
                    <a:pt x="1318" y="1124"/>
                  </a:cubicBezTo>
                  <a:close/>
                  <a:moveTo>
                    <a:pt x="1345" y="1125"/>
                  </a:moveTo>
                  <a:cubicBezTo>
                    <a:pt x="1345" y="1132"/>
                    <a:pt x="1345" y="1132"/>
                    <a:pt x="1345" y="1132"/>
                  </a:cubicBezTo>
                  <a:cubicBezTo>
                    <a:pt x="1349" y="1133"/>
                    <a:pt x="1349" y="1123"/>
                    <a:pt x="1345" y="1125"/>
                  </a:cubicBezTo>
                  <a:close/>
                  <a:moveTo>
                    <a:pt x="1341" y="1137"/>
                  </a:moveTo>
                  <a:cubicBezTo>
                    <a:pt x="1332" y="1139"/>
                    <a:pt x="1321" y="1137"/>
                    <a:pt x="1318" y="1129"/>
                  </a:cubicBezTo>
                  <a:cubicBezTo>
                    <a:pt x="1312" y="1142"/>
                    <a:pt x="1315" y="1151"/>
                    <a:pt x="1311" y="1163"/>
                  </a:cubicBezTo>
                  <a:cubicBezTo>
                    <a:pt x="1317" y="1161"/>
                    <a:pt x="1316" y="1168"/>
                    <a:pt x="1323" y="1170"/>
                  </a:cubicBezTo>
                  <a:cubicBezTo>
                    <a:pt x="1325" y="1164"/>
                    <a:pt x="1332" y="1162"/>
                    <a:pt x="1334" y="1155"/>
                  </a:cubicBezTo>
                  <a:cubicBezTo>
                    <a:pt x="1333" y="1154"/>
                    <a:pt x="1331" y="1155"/>
                    <a:pt x="1331" y="1152"/>
                  </a:cubicBezTo>
                  <a:cubicBezTo>
                    <a:pt x="1335" y="1148"/>
                    <a:pt x="1338" y="1143"/>
                    <a:pt x="1341" y="1137"/>
                  </a:cubicBezTo>
                  <a:close/>
                  <a:moveTo>
                    <a:pt x="1196" y="1143"/>
                  </a:moveTo>
                  <a:cubicBezTo>
                    <a:pt x="1192" y="1143"/>
                    <a:pt x="1192" y="1143"/>
                    <a:pt x="1192" y="1143"/>
                  </a:cubicBezTo>
                  <a:cubicBezTo>
                    <a:pt x="1191" y="1146"/>
                    <a:pt x="1191" y="1151"/>
                    <a:pt x="1195" y="1151"/>
                  </a:cubicBezTo>
                  <a:cubicBezTo>
                    <a:pt x="1194" y="1148"/>
                    <a:pt x="1197" y="1147"/>
                    <a:pt x="1196" y="1143"/>
                  </a:cubicBezTo>
                  <a:close/>
                  <a:moveTo>
                    <a:pt x="284" y="1289"/>
                  </a:moveTo>
                  <a:cubicBezTo>
                    <a:pt x="281" y="1281"/>
                    <a:pt x="276" y="1275"/>
                    <a:pt x="270" y="1271"/>
                  </a:cubicBezTo>
                  <a:cubicBezTo>
                    <a:pt x="272" y="1279"/>
                    <a:pt x="278" y="1284"/>
                    <a:pt x="284" y="1289"/>
                  </a:cubicBezTo>
                  <a:close/>
                  <a:moveTo>
                    <a:pt x="286" y="1293"/>
                  </a:moveTo>
                  <a:cubicBezTo>
                    <a:pt x="286" y="1295"/>
                    <a:pt x="287" y="1296"/>
                    <a:pt x="290" y="1296"/>
                  </a:cubicBezTo>
                  <a:cubicBezTo>
                    <a:pt x="290" y="1293"/>
                    <a:pt x="288" y="1293"/>
                    <a:pt x="286" y="1293"/>
                  </a:cubicBezTo>
                  <a:close/>
                  <a:moveTo>
                    <a:pt x="350" y="1358"/>
                  </a:moveTo>
                  <a:cubicBezTo>
                    <a:pt x="349" y="1355"/>
                    <a:pt x="347" y="1352"/>
                    <a:pt x="343" y="1351"/>
                  </a:cubicBezTo>
                  <a:cubicBezTo>
                    <a:pt x="344" y="1355"/>
                    <a:pt x="348" y="1356"/>
                    <a:pt x="350" y="1358"/>
                  </a:cubicBezTo>
                  <a:close/>
                  <a:moveTo>
                    <a:pt x="359" y="1369"/>
                  </a:moveTo>
                  <a:cubicBezTo>
                    <a:pt x="360" y="1371"/>
                    <a:pt x="361" y="1373"/>
                    <a:pt x="364" y="1374"/>
                  </a:cubicBezTo>
                  <a:cubicBezTo>
                    <a:pt x="363" y="1372"/>
                    <a:pt x="361" y="1367"/>
                    <a:pt x="359" y="1369"/>
                  </a:cubicBezTo>
                  <a:close/>
                  <a:moveTo>
                    <a:pt x="369" y="1383"/>
                  </a:moveTo>
                  <a:cubicBezTo>
                    <a:pt x="373" y="1382"/>
                    <a:pt x="369" y="1389"/>
                    <a:pt x="373" y="1388"/>
                  </a:cubicBezTo>
                  <a:cubicBezTo>
                    <a:pt x="374" y="1384"/>
                    <a:pt x="371" y="1380"/>
                    <a:pt x="369" y="1383"/>
                  </a:cubicBezTo>
                  <a:close/>
                  <a:moveTo>
                    <a:pt x="364" y="1432"/>
                  </a:moveTo>
                  <a:cubicBezTo>
                    <a:pt x="361" y="1431"/>
                    <a:pt x="359" y="1429"/>
                    <a:pt x="356" y="1428"/>
                  </a:cubicBezTo>
                  <a:cubicBezTo>
                    <a:pt x="358" y="1433"/>
                    <a:pt x="356" y="1436"/>
                    <a:pt x="360" y="1439"/>
                  </a:cubicBezTo>
                  <a:cubicBezTo>
                    <a:pt x="363" y="1440"/>
                    <a:pt x="365" y="1440"/>
                    <a:pt x="366" y="1438"/>
                  </a:cubicBezTo>
                  <a:cubicBezTo>
                    <a:pt x="363" y="1436"/>
                    <a:pt x="362" y="1435"/>
                    <a:pt x="364" y="1432"/>
                  </a:cubicBezTo>
                  <a:close/>
                  <a:moveTo>
                    <a:pt x="732" y="67"/>
                  </a:moveTo>
                  <a:cubicBezTo>
                    <a:pt x="718" y="64"/>
                    <a:pt x="703" y="59"/>
                    <a:pt x="689" y="58"/>
                  </a:cubicBezTo>
                  <a:cubicBezTo>
                    <a:pt x="682" y="54"/>
                    <a:pt x="675" y="54"/>
                    <a:pt x="668" y="48"/>
                  </a:cubicBezTo>
                  <a:cubicBezTo>
                    <a:pt x="680" y="51"/>
                    <a:pt x="684" y="46"/>
                    <a:pt x="696" y="47"/>
                  </a:cubicBezTo>
                  <a:cubicBezTo>
                    <a:pt x="697" y="42"/>
                    <a:pt x="691" y="44"/>
                    <a:pt x="691" y="41"/>
                  </a:cubicBezTo>
                  <a:cubicBezTo>
                    <a:pt x="694" y="41"/>
                    <a:pt x="697" y="42"/>
                    <a:pt x="701" y="42"/>
                  </a:cubicBezTo>
                  <a:cubicBezTo>
                    <a:pt x="702" y="40"/>
                    <a:pt x="703" y="39"/>
                    <a:pt x="704" y="37"/>
                  </a:cubicBezTo>
                  <a:cubicBezTo>
                    <a:pt x="702" y="34"/>
                    <a:pt x="698" y="39"/>
                    <a:pt x="697" y="36"/>
                  </a:cubicBezTo>
                  <a:cubicBezTo>
                    <a:pt x="700" y="35"/>
                    <a:pt x="702" y="35"/>
                    <a:pt x="703" y="32"/>
                  </a:cubicBezTo>
                  <a:cubicBezTo>
                    <a:pt x="693" y="28"/>
                    <a:pt x="680" y="24"/>
                    <a:pt x="665" y="25"/>
                  </a:cubicBezTo>
                  <a:cubicBezTo>
                    <a:pt x="664" y="22"/>
                    <a:pt x="665" y="22"/>
                    <a:pt x="661" y="21"/>
                  </a:cubicBezTo>
                  <a:cubicBezTo>
                    <a:pt x="670" y="20"/>
                    <a:pt x="687" y="24"/>
                    <a:pt x="692" y="14"/>
                  </a:cubicBezTo>
                  <a:cubicBezTo>
                    <a:pt x="678" y="11"/>
                    <a:pt x="670" y="15"/>
                    <a:pt x="657" y="14"/>
                  </a:cubicBezTo>
                  <a:cubicBezTo>
                    <a:pt x="662" y="10"/>
                    <a:pt x="670" y="9"/>
                    <a:pt x="675" y="5"/>
                  </a:cubicBezTo>
                  <a:cubicBezTo>
                    <a:pt x="669" y="3"/>
                    <a:pt x="658" y="6"/>
                    <a:pt x="655" y="0"/>
                  </a:cubicBezTo>
                  <a:cubicBezTo>
                    <a:pt x="626" y="0"/>
                    <a:pt x="595" y="8"/>
                    <a:pt x="569" y="17"/>
                  </a:cubicBezTo>
                  <a:cubicBezTo>
                    <a:pt x="555" y="11"/>
                    <a:pt x="540" y="23"/>
                    <a:pt x="526" y="24"/>
                  </a:cubicBezTo>
                  <a:cubicBezTo>
                    <a:pt x="527" y="24"/>
                    <a:pt x="527" y="23"/>
                    <a:pt x="525" y="23"/>
                  </a:cubicBezTo>
                  <a:cubicBezTo>
                    <a:pt x="524" y="25"/>
                    <a:pt x="522" y="24"/>
                    <a:pt x="524" y="26"/>
                  </a:cubicBezTo>
                  <a:cubicBezTo>
                    <a:pt x="515" y="28"/>
                    <a:pt x="507" y="32"/>
                    <a:pt x="499" y="35"/>
                  </a:cubicBezTo>
                  <a:cubicBezTo>
                    <a:pt x="460" y="51"/>
                    <a:pt x="419" y="76"/>
                    <a:pt x="386" y="98"/>
                  </a:cubicBezTo>
                  <a:cubicBezTo>
                    <a:pt x="324" y="140"/>
                    <a:pt x="261" y="193"/>
                    <a:pt x="212" y="249"/>
                  </a:cubicBezTo>
                  <a:cubicBezTo>
                    <a:pt x="191" y="272"/>
                    <a:pt x="179" y="300"/>
                    <a:pt x="165" y="324"/>
                  </a:cubicBezTo>
                  <a:cubicBezTo>
                    <a:pt x="168" y="328"/>
                    <a:pt x="160" y="331"/>
                    <a:pt x="163" y="334"/>
                  </a:cubicBezTo>
                  <a:cubicBezTo>
                    <a:pt x="165" y="330"/>
                    <a:pt x="166" y="337"/>
                    <a:pt x="164" y="337"/>
                  </a:cubicBezTo>
                  <a:cubicBezTo>
                    <a:pt x="166" y="338"/>
                    <a:pt x="167" y="335"/>
                    <a:pt x="168" y="337"/>
                  </a:cubicBezTo>
                  <a:cubicBezTo>
                    <a:pt x="166" y="341"/>
                    <a:pt x="165" y="346"/>
                    <a:pt x="170" y="347"/>
                  </a:cubicBezTo>
                  <a:cubicBezTo>
                    <a:pt x="168" y="379"/>
                    <a:pt x="140" y="395"/>
                    <a:pt x="144" y="426"/>
                  </a:cubicBezTo>
                  <a:cubicBezTo>
                    <a:pt x="152" y="412"/>
                    <a:pt x="160" y="398"/>
                    <a:pt x="167" y="384"/>
                  </a:cubicBezTo>
                  <a:cubicBezTo>
                    <a:pt x="167" y="372"/>
                    <a:pt x="176" y="369"/>
                    <a:pt x="181" y="360"/>
                  </a:cubicBezTo>
                  <a:cubicBezTo>
                    <a:pt x="183" y="361"/>
                    <a:pt x="182" y="364"/>
                    <a:pt x="185" y="363"/>
                  </a:cubicBezTo>
                  <a:cubicBezTo>
                    <a:pt x="191" y="353"/>
                    <a:pt x="203" y="345"/>
                    <a:pt x="215" y="346"/>
                  </a:cubicBezTo>
                  <a:cubicBezTo>
                    <a:pt x="213" y="351"/>
                    <a:pt x="211" y="355"/>
                    <a:pt x="208" y="359"/>
                  </a:cubicBezTo>
                  <a:cubicBezTo>
                    <a:pt x="211" y="358"/>
                    <a:pt x="213" y="355"/>
                    <a:pt x="216" y="354"/>
                  </a:cubicBezTo>
                  <a:cubicBezTo>
                    <a:pt x="216" y="354"/>
                    <a:pt x="214" y="356"/>
                    <a:pt x="215" y="356"/>
                  </a:cubicBezTo>
                  <a:cubicBezTo>
                    <a:pt x="221" y="356"/>
                    <a:pt x="223" y="349"/>
                    <a:pt x="231" y="343"/>
                  </a:cubicBezTo>
                  <a:cubicBezTo>
                    <a:pt x="233" y="343"/>
                    <a:pt x="232" y="346"/>
                    <a:pt x="234" y="345"/>
                  </a:cubicBezTo>
                  <a:cubicBezTo>
                    <a:pt x="237" y="341"/>
                    <a:pt x="241" y="339"/>
                    <a:pt x="245" y="337"/>
                  </a:cubicBezTo>
                  <a:cubicBezTo>
                    <a:pt x="245" y="340"/>
                    <a:pt x="245" y="340"/>
                    <a:pt x="245" y="340"/>
                  </a:cubicBezTo>
                  <a:cubicBezTo>
                    <a:pt x="250" y="342"/>
                    <a:pt x="251" y="335"/>
                    <a:pt x="253" y="337"/>
                  </a:cubicBezTo>
                  <a:cubicBezTo>
                    <a:pt x="252" y="340"/>
                    <a:pt x="251" y="342"/>
                    <a:pt x="252" y="345"/>
                  </a:cubicBezTo>
                  <a:cubicBezTo>
                    <a:pt x="256" y="348"/>
                    <a:pt x="261" y="345"/>
                    <a:pt x="263" y="345"/>
                  </a:cubicBezTo>
                  <a:cubicBezTo>
                    <a:pt x="265" y="350"/>
                    <a:pt x="267" y="353"/>
                    <a:pt x="269" y="356"/>
                  </a:cubicBezTo>
                  <a:cubicBezTo>
                    <a:pt x="267" y="362"/>
                    <a:pt x="262" y="369"/>
                    <a:pt x="263" y="376"/>
                  </a:cubicBezTo>
                  <a:cubicBezTo>
                    <a:pt x="264" y="376"/>
                    <a:pt x="266" y="375"/>
                    <a:pt x="267" y="377"/>
                  </a:cubicBezTo>
                  <a:cubicBezTo>
                    <a:pt x="267" y="409"/>
                    <a:pt x="253" y="443"/>
                    <a:pt x="230" y="460"/>
                  </a:cubicBezTo>
                  <a:cubicBezTo>
                    <a:pt x="223" y="457"/>
                    <a:pt x="211" y="460"/>
                    <a:pt x="206" y="465"/>
                  </a:cubicBezTo>
                  <a:cubicBezTo>
                    <a:pt x="208" y="459"/>
                    <a:pt x="203" y="460"/>
                    <a:pt x="201" y="457"/>
                  </a:cubicBezTo>
                  <a:cubicBezTo>
                    <a:pt x="199" y="450"/>
                    <a:pt x="204" y="445"/>
                    <a:pt x="201" y="438"/>
                  </a:cubicBezTo>
                  <a:cubicBezTo>
                    <a:pt x="190" y="438"/>
                    <a:pt x="182" y="442"/>
                    <a:pt x="174" y="446"/>
                  </a:cubicBezTo>
                  <a:cubicBezTo>
                    <a:pt x="173" y="457"/>
                    <a:pt x="179" y="464"/>
                    <a:pt x="176" y="479"/>
                  </a:cubicBezTo>
                  <a:cubicBezTo>
                    <a:pt x="179" y="479"/>
                    <a:pt x="178" y="476"/>
                    <a:pt x="181" y="477"/>
                  </a:cubicBezTo>
                  <a:cubicBezTo>
                    <a:pt x="176" y="481"/>
                    <a:pt x="181" y="491"/>
                    <a:pt x="178" y="499"/>
                  </a:cubicBezTo>
                  <a:cubicBezTo>
                    <a:pt x="179" y="500"/>
                    <a:pt x="183" y="499"/>
                    <a:pt x="182" y="503"/>
                  </a:cubicBezTo>
                  <a:cubicBezTo>
                    <a:pt x="175" y="505"/>
                    <a:pt x="172" y="508"/>
                    <a:pt x="165" y="512"/>
                  </a:cubicBezTo>
                  <a:cubicBezTo>
                    <a:pt x="153" y="509"/>
                    <a:pt x="145" y="524"/>
                    <a:pt x="138" y="532"/>
                  </a:cubicBezTo>
                  <a:cubicBezTo>
                    <a:pt x="139" y="542"/>
                    <a:pt x="138" y="555"/>
                    <a:pt x="141" y="565"/>
                  </a:cubicBezTo>
                  <a:cubicBezTo>
                    <a:pt x="140" y="581"/>
                    <a:pt x="132" y="593"/>
                    <a:pt x="128" y="608"/>
                  </a:cubicBezTo>
                  <a:cubicBezTo>
                    <a:pt x="123" y="608"/>
                    <a:pt x="123" y="614"/>
                    <a:pt x="119" y="615"/>
                  </a:cubicBezTo>
                  <a:cubicBezTo>
                    <a:pt x="116" y="611"/>
                    <a:pt x="111" y="615"/>
                    <a:pt x="109" y="611"/>
                  </a:cubicBezTo>
                  <a:cubicBezTo>
                    <a:pt x="101" y="617"/>
                    <a:pt x="97" y="627"/>
                    <a:pt x="92" y="636"/>
                  </a:cubicBezTo>
                  <a:cubicBezTo>
                    <a:pt x="89" y="634"/>
                    <a:pt x="87" y="631"/>
                    <a:pt x="84" y="629"/>
                  </a:cubicBezTo>
                  <a:cubicBezTo>
                    <a:pt x="84" y="624"/>
                    <a:pt x="85" y="617"/>
                    <a:pt x="82" y="615"/>
                  </a:cubicBezTo>
                  <a:cubicBezTo>
                    <a:pt x="78" y="614"/>
                    <a:pt x="79" y="617"/>
                    <a:pt x="76" y="617"/>
                  </a:cubicBezTo>
                  <a:cubicBezTo>
                    <a:pt x="76" y="616"/>
                    <a:pt x="77" y="614"/>
                    <a:pt x="76" y="614"/>
                  </a:cubicBezTo>
                  <a:cubicBezTo>
                    <a:pt x="75" y="615"/>
                    <a:pt x="74" y="617"/>
                    <a:pt x="72" y="617"/>
                  </a:cubicBezTo>
                  <a:cubicBezTo>
                    <a:pt x="71" y="614"/>
                    <a:pt x="70" y="614"/>
                    <a:pt x="67" y="615"/>
                  </a:cubicBezTo>
                  <a:cubicBezTo>
                    <a:pt x="67" y="612"/>
                    <a:pt x="67" y="610"/>
                    <a:pt x="65" y="610"/>
                  </a:cubicBezTo>
                  <a:cubicBezTo>
                    <a:pt x="63" y="612"/>
                    <a:pt x="60" y="614"/>
                    <a:pt x="60" y="619"/>
                  </a:cubicBezTo>
                  <a:cubicBezTo>
                    <a:pt x="60" y="621"/>
                    <a:pt x="64" y="620"/>
                    <a:pt x="64" y="623"/>
                  </a:cubicBezTo>
                  <a:cubicBezTo>
                    <a:pt x="61" y="625"/>
                    <a:pt x="63" y="631"/>
                    <a:pt x="60" y="633"/>
                  </a:cubicBezTo>
                  <a:cubicBezTo>
                    <a:pt x="60" y="630"/>
                    <a:pt x="55" y="632"/>
                    <a:pt x="53" y="630"/>
                  </a:cubicBezTo>
                  <a:cubicBezTo>
                    <a:pt x="46" y="635"/>
                    <a:pt x="49" y="645"/>
                    <a:pt x="45" y="651"/>
                  </a:cubicBezTo>
                  <a:cubicBezTo>
                    <a:pt x="43" y="654"/>
                    <a:pt x="39" y="655"/>
                    <a:pt x="37" y="657"/>
                  </a:cubicBezTo>
                  <a:cubicBezTo>
                    <a:pt x="34" y="661"/>
                    <a:pt x="36" y="668"/>
                    <a:pt x="31" y="671"/>
                  </a:cubicBezTo>
                  <a:cubicBezTo>
                    <a:pt x="30" y="671"/>
                    <a:pt x="29" y="670"/>
                    <a:pt x="27" y="671"/>
                  </a:cubicBezTo>
                  <a:cubicBezTo>
                    <a:pt x="21" y="675"/>
                    <a:pt x="25" y="682"/>
                    <a:pt x="22" y="689"/>
                  </a:cubicBezTo>
                  <a:cubicBezTo>
                    <a:pt x="20" y="687"/>
                    <a:pt x="23" y="681"/>
                    <a:pt x="19" y="681"/>
                  </a:cubicBezTo>
                  <a:cubicBezTo>
                    <a:pt x="21" y="694"/>
                    <a:pt x="15" y="700"/>
                    <a:pt x="19" y="711"/>
                  </a:cubicBezTo>
                  <a:cubicBezTo>
                    <a:pt x="16" y="710"/>
                    <a:pt x="18" y="714"/>
                    <a:pt x="15" y="714"/>
                  </a:cubicBezTo>
                  <a:cubicBezTo>
                    <a:pt x="8" y="753"/>
                    <a:pt x="0" y="800"/>
                    <a:pt x="3" y="845"/>
                  </a:cubicBezTo>
                  <a:cubicBezTo>
                    <a:pt x="4" y="874"/>
                    <a:pt x="7" y="900"/>
                    <a:pt x="10" y="925"/>
                  </a:cubicBezTo>
                  <a:cubicBezTo>
                    <a:pt x="22" y="1004"/>
                    <a:pt x="40" y="1074"/>
                    <a:pt x="66" y="1136"/>
                  </a:cubicBezTo>
                  <a:cubicBezTo>
                    <a:pt x="81" y="1172"/>
                    <a:pt x="97" y="1206"/>
                    <a:pt x="116" y="1234"/>
                  </a:cubicBezTo>
                  <a:cubicBezTo>
                    <a:pt x="115" y="1232"/>
                    <a:pt x="115" y="1229"/>
                    <a:pt x="117" y="1227"/>
                  </a:cubicBezTo>
                  <a:cubicBezTo>
                    <a:pt x="134" y="1241"/>
                    <a:pt x="145" y="1273"/>
                    <a:pt x="172" y="1283"/>
                  </a:cubicBezTo>
                  <a:cubicBezTo>
                    <a:pt x="177" y="1290"/>
                    <a:pt x="184" y="1296"/>
                    <a:pt x="193" y="1299"/>
                  </a:cubicBezTo>
                  <a:cubicBezTo>
                    <a:pt x="195" y="1290"/>
                    <a:pt x="188" y="1276"/>
                    <a:pt x="187" y="1270"/>
                  </a:cubicBezTo>
                  <a:cubicBezTo>
                    <a:pt x="197" y="1287"/>
                    <a:pt x="206" y="1311"/>
                    <a:pt x="224" y="1317"/>
                  </a:cubicBezTo>
                  <a:cubicBezTo>
                    <a:pt x="228" y="1313"/>
                    <a:pt x="231" y="1308"/>
                    <a:pt x="231" y="1303"/>
                  </a:cubicBezTo>
                  <a:cubicBezTo>
                    <a:pt x="238" y="1307"/>
                    <a:pt x="241" y="1316"/>
                    <a:pt x="248" y="1319"/>
                  </a:cubicBezTo>
                  <a:cubicBezTo>
                    <a:pt x="249" y="1319"/>
                    <a:pt x="249" y="1318"/>
                    <a:pt x="250" y="1319"/>
                  </a:cubicBezTo>
                  <a:cubicBezTo>
                    <a:pt x="251" y="1313"/>
                    <a:pt x="247" y="1308"/>
                    <a:pt x="248" y="1306"/>
                  </a:cubicBezTo>
                  <a:cubicBezTo>
                    <a:pt x="254" y="1312"/>
                    <a:pt x="261" y="1316"/>
                    <a:pt x="263" y="1325"/>
                  </a:cubicBezTo>
                  <a:cubicBezTo>
                    <a:pt x="261" y="1325"/>
                    <a:pt x="260" y="1324"/>
                    <a:pt x="259" y="1323"/>
                  </a:cubicBezTo>
                  <a:cubicBezTo>
                    <a:pt x="259" y="1328"/>
                    <a:pt x="262" y="1331"/>
                    <a:pt x="267" y="1332"/>
                  </a:cubicBezTo>
                  <a:cubicBezTo>
                    <a:pt x="266" y="1329"/>
                    <a:pt x="270" y="1330"/>
                    <a:pt x="271" y="1330"/>
                  </a:cubicBezTo>
                  <a:cubicBezTo>
                    <a:pt x="278" y="1334"/>
                    <a:pt x="279" y="1342"/>
                    <a:pt x="288" y="1343"/>
                  </a:cubicBezTo>
                  <a:cubicBezTo>
                    <a:pt x="307" y="1338"/>
                    <a:pt x="305" y="1369"/>
                    <a:pt x="319" y="1374"/>
                  </a:cubicBezTo>
                  <a:cubicBezTo>
                    <a:pt x="329" y="1373"/>
                    <a:pt x="332" y="1378"/>
                    <a:pt x="337" y="1382"/>
                  </a:cubicBezTo>
                  <a:cubicBezTo>
                    <a:pt x="352" y="1381"/>
                    <a:pt x="352" y="1394"/>
                    <a:pt x="361" y="1399"/>
                  </a:cubicBezTo>
                  <a:cubicBezTo>
                    <a:pt x="362" y="1395"/>
                    <a:pt x="375" y="1396"/>
                    <a:pt x="372" y="1400"/>
                  </a:cubicBezTo>
                  <a:cubicBezTo>
                    <a:pt x="371" y="1399"/>
                    <a:pt x="368" y="1399"/>
                    <a:pt x="365" y="1399"/>
                  </a:cubicBezTo>
                  <a:cubicBezTo>
                    <a:pt x="365" y="1407"/>
                    <a:pt x="373" y="1411"/>
                    <a:pt x="378" y="1416"/>
                  </a:cubicBezTo>
                  <a:cubicBezTo>
                    <a:pt x="383" y="1422"/>
                    <a:pt x="384" y="1431"/>
                    <a:pt x="391" y="1435"/>
                  </a:cubicBezTo>
                  <a:cubicBezTo>
                    <a:pt x="392" y="1431"/>
                    <a:pt x="391" y="1431"/>
                    <a:pt x="392" y="1429"/>
                  </a:cubicBezTo>
                  <a:cubicBezTo>
                    <a:pt x="393" y="1432"/>
                    <a:pt x="396" y="1428"/>
                    <a:pt x="397" y="1429"/>
                  </a:cubicBezTo>
                  <a:cubicBezTo>
                    <a:pt x="396" y="1422"/>
                    <a:pt x="390" y="1420"/>
                    <a:pt x="388" y="1414"/>
                  </a:cubicBezTo>
                  <a:cubicBezTo>
                    <a:pt x="390" y="1414"/>
                    <a:pt x="390" y="1416"/>
                    <a:pt x="392" y="1416"/>
                  </a:cubicBezTo>
                  <a:cubicBezTo>
                    <a:pt x="390" y="1411"/>
                    <a:pt x="387" y="1407"/>
                    <a:pt x="383" y="1404"/>
                  </a:cubicBezTo>
                  <a:cubicBezTo>
                    <a:pt x="383" y="1399"/>
                    <a:pt x="381" y="1394"/>
                    <a:pt x="375" y="1392"/>
                  </a:cubicBezTo>
                  <a:cubicBezTo>
                    <a:pt x="373" y="1393"/>
                    <a:pt x="370" y="1398"/>
                    <a:pt x="368" y="1393"/>
                  </a:cubicBezTo>
                  <a:cubicBezTo>
                    <a:pt x="370" y="1393"/>
                    <a:pt x="372" y="1393"/>
                    <a:pt x="373" y="1391"/>
                  </a:cubicBezTo>
                  <a:cubicBezTo>
                    <a:pt x="367" y="1388"/>
                    <a:pt x="368" y="1373"/>
                    <a:pt x="359" y="1376"/>
                  </a:cubicBezTo>
                  <a:cubicBezTo>
                    <a:pt x="362" y="1377"/>
                    <a:pt x="363" y="1378"/>
                    <a:pt x="362" y="1382"/>
                  </a:cubicBezTo>
                  <a:cubicBezTo>
                    <a:pt x="358" y="1381"/>
                    <a:pt x="356" y="1378"/>
                    <a:pt x="356" y="1374"/>
                  </a:cubicBezTo>
                  <a:cubicBezTo>
                    <a:pt x="357" y="1374"/>
                    <a:pt x="358" y="1376"/>
                    <a:pt x="358" y="1373"/>
                  </a:cubicBezTo>
                  <a:cubicBezTo>
                    <a:pt x="356" y="1370"/>
                    <a:pt x="351" y="1364"/>
                    <a:pt x="350" y="1363"/>
                  </a:cubicBezTo>
                  <a:cubicBezTo>
                    <a:pt x="352" y="1364"/>
                    <a:pt x="356" y="1368"/>
                    <a:pt x="359" y="1366"/>
                  </a:cubicBezTo>
                  <a:cubicBezTo>
                    <a:pt x="354" y="1361"/>
                    <a:pt x="347" y="1360"/>
                    <a:pt x="342" y="1354"/>
                  </a:cubicBezTo>
                  <a:cubicBezTo>
                    <a:pt x="342" y="1353"/>
                    <a:pt x="343" y="1350"/>
                    <a:pt x="342" y="1349"/>
                  </a:cubicBezTo>
                  <a:cubicBezTo>
                    <a:pt x="340" y="1344"/>
                    <a:pt x="329" y="1331"/>
                    <a:pt x="325" y="1332"/>
                  </a:cubicBezTo>
                  <a:cubicBezTo>
                    <a:pt x="324" y="1338"/>
                    <a:pt x="333" y="1340"/>
                    <a:pt x="332" y="1343"/>
                  </a:cubicBezTo>
                  <a:cubicBezTo>
                    <a:pt x="326" y="1344"/>
                    <a:pt x="328" y="1336"/>
                    <a:pt x="323" y="1336"/>
                  </a:cubicBezTo>
                  <a:cubicBezTo>
                    <a:pt x="322" y="1338"/>
                    <a:pt x="326" y="1339"/>
                    <a:pt x="323" y="1340"/>
                  </a:cubicBezTo>
                  <a:cubicBezTo>
                    <a:pt x="320" y="1338"/>
                    <a:pt x="321" y="1332"/>
                    <a:pt x="320" y="1329"/>
                  </a:cubicBezTo>
                  <a:cubicBezTo>
                    <a:pt x="314" y="1329"/>
                    <a:pt x="311" y="1319"/>
                    <a:pt x="316" y="1317"/>
                  </a:cubicBezTo>
                  <a:cubicBezTo>
                    <a:pt x="314" y="1313"/>
                    <a:pt x="309" y="1312"/>
                    <a:pt x="305" y="1310"/>
                  </a:cubicBezTo>
                  <a:cubicBezTo>
                    <a:pt x="303" y="1313"/>
                    <a:pt x="308" y="1317"/>
                    <a:pt x="309" y="1320"/>
                  </a:cubicBezTo>
                  <a:cubicBezTo>
                    <a:pt x="303" y="1316"/>
                    <a:pt x="299" y="1309"/>
                    <a:pt x="292" y="1307"/>
                  </a:cubicBezTo>
                  <a:cubicBezTo>
                    <a:pt x="297" y="1308"/>
                    <a:pt x="291" y="1304"/>
                    <a:pt x="295" y="1303"/>
                  </a:cubicBezTo>
                  <a:cubicBezTo>
                    <a:pt x="297" y="1306"/>
                    <a:pt x="299" y="1313"/>
                    <a:pt x="302" y="1310"/>
                  </a:cubicBezTo>
                  <a:cubicBezTo>
                    <a:pt x="299" y="1307"/>
                    <a:pt x="297" y="1303"/>
                    <a:pt x="293" y="1300"/>
                  </a:cubicBezTo>
                  <a:cubicBezTo>
                    <a:pt x="292" y="1301"/>
                    <a:pt x="293" y="1304"/>
                    <a:pt x="291" y="1303"/>
                  </a:cubicBezTo>
                  <a:cubicBezTo>
                    <a:pt x="285" y="1295"/>
                    <a:pt x="279" y="1286"/>
                    <a:pt x="269" y="1281"/>
                  </a:cubicBezTo>
                  <a:cubicBezTo>
                    <a:pt x="271" y="1275"/>
                    <a:pt x="265" y="1278"/>
                    <a:pt x="266" y="1272"/>
                  </a:cubicBezTo>
                  <a:cubicBezTo>
                    <a:pt x="268" y="1272"/>
                    <a:pt x="269" y="1275"/>
                    <a:pt x="268" y="1271"/>
                  </a:cubicBezTo>
                  <a:cubicBezTo>
                    <a:pt x="266" y="1260"/>
                    <a:pt x="254" y="1254"/>
                    <a:pt x="248" y="1245"/>
                  </a:cubicBezTo>
                  <a:cubicBezTo>
                    <a:pt x="244" y="1238"/>
                    <a:pt x="242" y="1230"/>
                    <a:pt x="237" y="1223"/>
                  </a:cubicBezTo>
                  <a:cubicBezTo>
                    <a:pt x="231" y="1216"/>
                    <a:pt x="220" y="1208"/>
                    <a:pt x="214" y="1202"/>
                  </a:cubicBezTo>
                  <a:cubicBezTo>
                    <a:pt x="209" y="1198"/>
                    <a:pt x="204" y="1191"/>
                    <a:pt x="201" y="1187"/>
                  </a:cubicBezTo>
                  <a:cubicBezTo>
                    <a:pt x="193" y="1176"/>
                    <a:pt x="191" y="1162"/>
                    <a:pt x="182" y="1150"/>
                  </a:cubicBezTo>
                  <a:cubicBezTo>
                    <a:pt x="180" y="1147"/>
                    <a:pt x="177" y="1146"/>
                    <a:pt x="175" y="1144"/>
                  </a:cubicBezTo>
                  <a:cubicBezTo>
                    <a:pt x="171" y="1137"/>
                    <a:pt x="170" y="1129"/>
                    <a:pt x="165" y="1122"/>
                  </a:cubicBezTo>
                  <a:cubicBezTo>
                    <a:pt x="155" y="1116"/>
                    <a:pt x="153" y="1102"/>
                    <a:pt x="146" y="1094"/>
                  </a:cubicBezTo>
                  <a:cubicBezTo>
                    <a:pt x="145" y="1085"/>
                    <a:pt x="139" y="1081"/>
                    <a:pt x="136" y="1075"/>
                  </a:cubicBezTo>
                  <a:cubicBezTo>
                    <a:pt x="137" y="1068"/>
                    <a:pt x="133" y="1067"/>
                    <a:pt x="130" y="1064"/>
                  </a:cubicBezTo>
                  <a:cubicBezTo>
                    <a:pt x="122" y="1042"/>
                    <a:pt x="108" y="1020"/>
                    <a:pt x="110" y="990"/>
                  </a:cubicBezTo>
                  <a:cubicBezTo>
                    <a:pt x="111" y="968"/>
                    <a:pt x="125" y="947"/>
                    <a:pt x="123" y="923"/>
                  </a:cubicBezTo>
                  <a:cubicBezTo>
                    <a:pt x="122" y="920"/>
                    <a:pt x="120" y="917"/>
                    <a:pt x="120" y="913"/>
                  </a:cubicBezTo>
                  <a:cubicBezTo>
                    <a:pt x="119" y="905"/>
                    <a:pt x="120" y="896"/>
                    <a:pt x="120" y="887"/>
                  </a:cubicBezTo>
                  <a:cubicBezTo>
                    <a:pt x="120" y="855"/>
                    <a:pt x="122" y="823"/>
                    <a:pt x="133" y="797"/>
                  </a:cubicBezTo>
                  <a:cubicBezTo>
                    <a:pt x="133" y="795"/>
                    <a:pt x="129" y="796"/>
                    <a:pt x="129" y="792"/>
                  </a:cubicBezTo>
                  <a:cubicBezTo>
                    <a:pt x="132" y="789"/>
                    <a:pt x="131" y="781"/>
                    <a:pt x="131" y="775"/>
                  </a:cubicBezTo>
                  <a:cubicBezTo>
                    <a:pt x="127" y="771"/>
                    <a:pt x="123" y="769"/>
                    <a:pt x="119" y="767"/>
                  </a:cubicBezTo>
                  <a:cubicBezTo>
                    <a:pt x="119" y="766"/>
                    <a:pt x="118" y="765"/>
                    <a:pt x="118" y="764"/>
                  </a:cubicBezTo>
                  <a:cubicBezTo>
                    <a:pt x="120" y="763"/>
                    <a:pt x="120" y="765"/>
                    <a:pt x="122" y="765"/>
                  </a:cubicBezTo>
                  <a:cubicBezTo>
                    <a:pt x="120" y="760"/>
                    <a:pt x="125" y="758"/>
                    <a:pt x="125" y="752"/>
                  </a:cubicBezTo>
                  <a:cubicBezTo>
                    <a:pt x="126" y="748"/>
                    <a:pt x="121" y="742"/>
                    <a:pt x="124" y="737"/>
                  </a:cubicBezTo>
                  <a:cubicBezTo>
                    <a:pt x="116" y="733"/>
                    <a:pt x="117" y="722"/>
                    <a:pt x="115" y="716"/>
                  </a:cubicBezTo>
                  <a:cubicBezTo>
                    <a:pt x="111" y="715"/>
                    <a:pt x="112" y="718"/>
                    <a:pt x="109" y="719"/>
                  </a:cubicBezTo>
                  <a:cubicBezTo>
                    <a:pt x="106" y="716"/>
                    <a:pt x="108" y="715"/>
                    <a:pt x="108" y="711"/>
                  </a:cubicBezTo>
                  <a:cubicBezTo>
                    <a:pt x="104" y="711"/>
                    <a:pt x="104" y="707"/>
                    <a:pt x="103" y="704"/>
                  </a:cubicBezTo>
                  <a:cubicBezTo>
                    <a:pt x="98" y="704"/>
                    <a:pt x="98" y="704"/>
                    <a:pt x="98" y="704"/>
                  </a:cubicBezTo>
                  <a:cubicBezTo>
                    <a:pt x="93" y="698"/>
                    <a:pt x="96" y="692"/>
                    <a:pt x="96" y="686"/>
                  </a:cubicBezTo>
                  <a:cubicBezTo>
                    <a:pt x="96" y="684"/>
                    <a:pt x="94" y="683"/>
                    <a:pt x="94" y="681"/>
                  </a:cubicBezTo>
                  <a:cubicBezTo>
                    <a:pt x="91" y="660"/>
                    <a:pt x="98" y="633"/>
                    <a:pt x="108" y="621"/>
                  </a:cubicBezTo>
                  <a:cubicBezTo>
                    <a:pt x="110" y="623"/>
                    <a:pt x="114" y="624"/>
                    <a:pt x="116" y="626"/>
                  </a:cubicBezTo>
                  <a:cubicBezTo>
                    <a:pt x="115" y="630"/>
                    <a:pt x="112" y="632"/>
                    <a:pt x="112" y="637"/>
                  </a:cubicBezTo>
                  <a:cubicBezTo>
                    <a:pt x="117" y="639"/>
                    <a:pt x="119" y="633"/>
                    <a:pt x="118" y="627"/>
                  </a:cubicBezTo>
                  <a:cubicBezTo>
                    <a:pt x="119" y="626"/>
                    <a:pt x="122" y="629"/>
                    <a:pt x="124" y="626"/>
                  </a:cubicBezTo>
                  <a:cubicBezTo>
                    <a:pt x="123" y="616"/>
                    <a:pt x="135" y="614"/>
                    <a:pt x="139" y="607"/>
                  </a:cubicBezTo>
                  <a:cubicBezTo>
                    <a:pt x="142" y="600"/>
                    <a:pt x="142" y="593"/>
                    <a:pt x="148" y="587"/>
                  </a:cubicBezTo>
                  <a:cubicBezTo>
                    <a:pt x="149" y="594"/>
                    <a:pt x="155" y="582"/>
                    <a:pt x="157" y="579"/>
                  </a:cubicBezTo>
                  <a:cubicBezTo>
                    <a:pt x="153" y="565"/>
                    <a:pt x="166" y="554"/>
                    <a:pt x="171" y="543"/>
                  </a:cubicBezTo>
                  <a:cubicBezTo>
                    <a:pt x="169" y="540"/>
                    <a:pt x="168" y="538"/>
                    <a:pt x="172" y="536"/>
                  </a:cubicBezTo>
                  <a:cubicBezTo>
                    <a:pt x="180" y="539"/>
                    <a:pt x="191" y="525"/>
                    <a:pt x="196" y="521"/>
                  </a:cubicBezTo>
                  <a:cubicBezTo>
                    <a:pt x="197" y="519"/>
                    <a:pt x="200" y="519"/>
                    <a:pt x="202" y="518"/>
                  </a:cubicBezTo>
                  <a:cubicBezTo>
                    <a:pt x="213" y="509"/>
                    <a:pt x="220" y="483"/>
                    <a:pt x="233" y="480"/>
                  </a:cubicBezTo>
                  <a:cubicBezTo>
                    <a:pt x="239" y="479"/>
                    <a:pt x="243" y="485"/>
                    <a:pt x="249" y="482"/>
                  </a:cubicBezTo>
                  <a:cubicBezTo>
                    <a:pt x="251" y="477"/>
                    <a:pt x="258" y="477"/>
                    <a:pt x="262" y="475"/>
                  </a:cubicBezTo>
                  <a:cubicBezTo>
                    <a:pt x="266" y="472"/>
                    <a:pt x="268" y="466"/>
                    <a:pt x="272" y="463"/>
                  </a:cubicBezTo>
                  <a:cubicBezTo>
                    <a:pt x="277" y="459"/>
                    <a:pt x="285" y="458"/>
                    <a:pt x="290" y="455"/>
                  </a:cubicBezTo>
                  <a:cubicBezTo>
                    <a:pt x="294" y="451"/>
                    <a:pt x="296" y="444"/>
                    <a:pt x="300" y="441"/>
                  </a:cubicBezTo>
                  <a:cubicBezTo>
                    <a:pt x="304" y="438"/>
                    <a:pt x="308" y="440"/>
                    <a:pt x="312" y="437"/>
                  </a:cubicBezTo>
                  <a:cubicBezTo>
                    <a:pt x="314" y="435"/>
                    <a:pt x="314" y="431"/>
                    <a:pt x="317" y="428"/>
                  </a:cubicBezTo>
                  <a:cubicBezTo>
                    <a:pt x="325" y="419"/>
                    <a:pt x="338" y="420"/>
                    <a:pt x="338" y="407"/>
                  </a:cubicBezTo>
                  <a:cubicBezTo>
                    <a:pt x="334" y="405"/>
                    <a:pt x="335" y="399"/>
                    <a:pt x="332" y="397"/>
                  </a:cubicBezTo>
                  <a:cubicBezTo>
                    <a:pt x="339" y="382"/>
                    <a:pt x="347" y="367"/>
                    <a:pt x="361" y="359"/>
                  </a:cubicBezTo>
                  <a:cubicBezTo>
                    <a:pt x="361" y="356"/>
                    <a:pt x="359" y="356"/>
                    <a:pt x="360" y="354"/>
                  </a:cubicBezTo>
                  <a:cubicBezTo>
                    <a:pt x="365" y="351"/>
                    <a:pt x="370" y="348"/>
                    <a:pt x="374" y="344"/>
                  </a:cubicBezTo>
                  <a:cubicBezTo>
                    <a:pt x="374" y="341"/>
                    <a:pt x="370" y="342"/>
                    <a:pt x="371" y="337"/>
                  </a:cubicBezTo>
                  <a:cubicBezTo>
                    <a:pt x="388" y="325"/>
                    <a:pt x="401" y="308"/>
                    <a:pt x="408" y="286"/>
                  </a:cubicBezTo>
                  <a:cubicBezTo>
                    <a:pt x="413" y="284"/>
                    <a:pt x="417" y="281"/>
                    <a:pt x="422" y="279"/>
                  </a:cubicBezTo>
                  <a:cubicBezTo>
                    <a:pt x="424" y="297"/>
                    <a:pt x="412" y="301"/>
                    <a:pt x="406" y="311"/>
                  </a:cubicBezTo>
                  <a:cubicBezTo>
                    <a:pt x="403" y="317"/>
                    <a:pt x="402" y="325"/>
                    <a:pt x="398" y="329"/>
                  </a:cubicBezTo>
                  <a:cubicBezTo>
                    <a:pt x="396" y="331"/>
                    <a:pt x="393" y="331"/>
                    <a:pt x="391" y="334"/>
                  </a:cubicBezTo>
                  <a:cubicBezTo>
                    <a:pt x="391" y="343"/>
                    <a:pt x="386" y="348"/>
                    <a:pt x="384" y="357"/>
                  </a:cubicBezTo>
                  <a:cubicBezTo>
                    <a:pt x="376" y="358"/>
                    <a:pt x="374" y="364"/>
                    <a:pt x="373" y="372"/>
                  </a:cubicBezTo>
                  <a:cubicBezTo>
                    <a:pt x="375" y="372"/>
                    <a:pt x="375" y="374"/>
                    <a:pt x="378" y="373"/>
                  </a:cubicBezTo>
                  <a:cubicBezTo>
                    <a:pt x="383" y="372"/>
                    <a:pt x="380" y="368"/>
                    <a:pt x="382" y="365"/>
                  </a:cubicBezTo>
                  <a:cubicBezTo>
                    <a:pt x="388" y="356"/>
                    <a:pt x="405" y="350"/>
                    <a:pt x="400" y="338"/>
                  </a:cubicBezTo>
                  <a:cubicBezTo>
                    <a:pt x="403" y="335"/>
                    <a:pt x="407" y="331"/>
                    <a:pt x="410" y="327"/>
                  </a:cubicBezTo>
                  <a:cubicBezTo>
                    <a:pt x="416" y="327"/>
                    <a:pt x="423" y="320"/>
                    <a:pt x="427" y="314"/>
                  </a:cubicBezTo>
                  <a:cubicBezTo>
                    <a:pt x="423" y="314"/>
                    <a:pt x="422" y="316"/>
                    <a:pt x="419" y="316"/>
                  </a:cubicBezTo>
                  <a:cubicBezTo>
                    <a:pt x="414" y="306"/>
                    <a:pt x="425" y="301"/>
                    <a:pt x="432" y="296"/>
                  </a:cubicBezTo>
                  <a:cubicBezTo>
                    <a:pt x="440" y="280"/>
                    <a:pt x="440" y="261"/>
                    <a:pt x="455" y="252"/>
                  </a:cubicBezTo>
                  <a:cubicBezTo>
                    <a:pt x="463" y="252"/>
                    <a:pt x="465" y="246"/>
                    <a:pt x="472" y="245"/>
                  </a:cubicBezTo>
                  <a:cubicBezTo>
                    <a:pt x="470" y="233"/>
                    <a:pt x="485" y="234"/>
                    <a:pt x="481" y="223"/>
                  </a:cubicBezTo>
                  <a:cubicBezTo>
                    <a:pt x="483" y="221"/>
                    <a:pt x="486" y="221"/>
                    <a:pt x="486" y="216"/>
                  </a:cubicBezTo>
                  <a:cubicBezTo>
                    <a:pt x="487" y="213"/>
                    <a:pt x="482" y="216"/>
                    <a:pt x="483" y="213"/>
                  </a:cubicBezTo>
                  <a:cubicBezTo>
                    <a:pt x="491" y="213"/>
                    <a:pt x="494" y="204"/>
                    <a:pt x="492" y="196"/>
                  </a:cubicBezTo>
                  <a:cubicBezTo>
                    <a:pt x="493" y="194"/>
                    <a:pt x="497" y="194"/>
                    <a:pt x="497" y="191"/>
                  </a:cubicBezTo>
                  <a:cubicBezTo>
                    <a:pt x="497" y="186"/>
                    <a:pt x="492" y="186"/>
                    <a:pt x="492" y="182"/>
                  </a:cubicBezTo>
                  <a:cubicBezTo>
                    <a:pt x="495" y="167"/>
                    <a:pt x="487" y="159"/>
                    <a:pt x="484" y="146"/>
                  </a:cubicBezTo>
                  <a:cubicBezTo>
                    <a:pt x="484" y="141"/>
                    <a:pt x="491" y="134"/>
                    <a:pt x="487" y="130"/>
                  </a:cubicBezTo>
                  <a:cubicBezTo>
                    <a:pt x="498" y="125"/>
                    <a:pt x="507" y="118"/>
                    <a:pt x="512" y="111"/>
                  </a:cubicBezTo>
                  <a:cubicBezTo>
                    <a:pt x="507" y="109"/>
                    <a:pt x="503" y="115"/>
                    <a:pt x="498" y="116"/>
                  </a:cubicBezTo>
                  <a:cubicBezTo>
                    <a:pt x="498" y="114"/>
                    <a:pt x="498" y="114"/>
                    <a:pt x="499" y="113"/>
                  </a:cubicBezTo>
                  <a:cubicBezTo>
                    <a:pt x="492" y="118"/>
                    <a:pt x="487" y="126"/>
                    <a:pt x="479" y="130"/>
                  </a:cubicBezTo>
                  <a:cubicBezTo>
                    <a:pt x="478" y="133"/>
                    <a:pt x="481" y="132"/>
                    <a:pt x="482" y="134"/>
                  </a:cubicBezTo>
                  <a:cubicBezTo>
                    <a:pt x="479" y="133"/>
                    <a:pt x="478" y="135"/>
                    <a:pt x="476" y="135"/>
                  </a:cubicBezTo>
                  <a:cubicBezTo>
                    <a:pt x="477" y="137"/>
                    <a:pt x="478" y="141"/>
                    <a:pt x="474" y="141"/>
                  </a:cubicBezTo>
                  <a:cubicBezTo>
                    <a:pt x="472" y="135"/>
                    <a:pt x="473" y="130"/>
                    <a:pt x="478" y="125"/>
                  </a:cubicBezTo>
                  <a:cubicBezTo>
                    <a:pt x="480" y="123"/>
                    <a:pt x="484" y="123"/>
                    <a:pt x="487" y="121"/>
                  </a:cubicBezTo>
                  <a:cubicBezTo>
                    <a:pt x="489" y="120"/>
                    <a:pt x="489" y="118"/>
                    <a:pt x="490" y="117"/>
                  </a:cubicBezTo>
                  <a:cubicBezTo>
                    <a:pt x="496" y="112"/>
                    <a:pt x="503" y="113"/>
                    <a:pt x="508" y="108"/>
                  </a:cubicBezTo>
                  <a:cubicBezTo>
                    <a:pt x="503" y="106"/>
                    <a:pt x="506" y="101"/>
                    <a:pt x="510" y="99"/>
                  </a:cubicBezTo>
                  <a:cubicBezTo>
                    <a:pt x="509" y="100"/>
                    <a:pt x="519" y="101"/>
                    <a:pt x="516" y="97"/>
                  </a:cubicBezTo>
                  <a:cubicBezTo>
                    <a:pt x="514" y="96"/>
                    <a:pt x="512" y="100"/>
                    <a:pt x="511" y="97"/>
                  </a:cubicBezTo>
                  <a:cubicBezTo>
                    <a:pt x="511" y="95"/>
                    <a:pt x="510" y="95"/>
                    <a:pt x="511" y="94"/>
                  </a:cubicBezTo>
                  <a:cubicBezTo>
                    <a:pt x="515" y="96"/>
                    <a:pt x="520" y="97"/>
                    <a:pt x="523" y="93"/>
                  </a:cubicBezTo>
                  <a:cubicBezTo>
                    <a:pt x="521" y="91"/>
                    <a:pt x="519" y="95"/>
                    <a:pt x="519" y="93"/>
                  </a:cubicBezTo>
                  <a:cubicBezTo>
                    <a:pt x="517" y="87"/>
                    <a:pt x="525" y="87"/>
                    <a:pt x="529" y="82"/>
                  </a:cubicBezTo>
                  <a:cubicBezTo>
                    <a:pt x="531" y="78"/>
                    <a:pt x="530" y="72"/>
                    <a:pt x="534" y="71"/>
                  </a:cubicBezTo>
                  <a:cubicBezTo>
                    <a:pt x="535" y="71"/>
                    <a:pt x="538" y="78"/>
                    <a:pt x="539" y="73"/>
                  </a:cubicBezTo>
                  <a:cubicBezTo>
                    <a:pt x="539" y="69"/>
                    <a:pt x="537" y="71"/>
                    <a:pt x="537" y="66"/>
                  </a:cubicBezTo>
                  <a:cubicBezTo>
                    <a:pt x="540" y="66"/>
                    <a:pt x="539" y="64"/>
                    <a:pt x="541" y="64"/>
                  </a:cubicBezTo>
                  <a:cubicBezTo>
                    <a:pt x="541" y="67"/>
                    <a:pt x="538" y="68"/>
                    <a:pt x="540" y="70"/>
                  </a:cubicBezTo>
                  <a:cubicBezTo>
                    <a:pt x="543" y="70"/>
                    <a:pt x="542" y="67"/>
                    <a:pt x="545" y="68"/>
                  </a:cubicBezTo>
                  <a:cubicBezTo>
                    <a:pt x="543" y="69"/>
                    <a:pt x="541" y="74"/>
                    <a:pt x="545" y="74"/>
                  </a:cubicBezTo>
                  <a:cubicBezTo>
                    <a:pt x="549" y="70"/>
                    <a:pt x="548" y="67"/>
                    <a:pt x="551" y="63"/>
                  </a:cubicBezTo>
                  <a:cubicBezTo>
                    <a:pt x="547" y="63"/>
                    <a:pt x="544" y="67"/>
                    <a:pt x="542" y="63"/>
                  </a:cubicBezTo>
                  <a:cubicBezTo>
                    <a:pt x="547" y="61"/>
                    <a:pt x="548" y="62"/>
                    <a:pt x="554" y="59"/>
                  </a:cubicBezTo>
                  <a:cubicBezTo>
                    <a:pt x="553" y="60"/>
                    <a:pt x="552" y="61"/>
                    <a:pt x="554" y="62"/>
                  </a:cubicBezTo>
                  <a:cubicBezTo>
                    <a:pt x="568" y="51"/>
                    <a:pt x="591" y="49"/>
                    <a:pt x="609" y="42"/>
                  </a:cubicBezTo>
                  <a:cubicBezTo>
                    <a:pt x="609" y="43"/>
                    <a:pt x="611" y="43"/>
                    <a:pt x="612" y="43"/>
                  </a:cubicBezTo>
                  <a:cubicBezTo>
                    <a:pt x="611" y="44"/>
                    <a:pt x="611" y="45"/>
                    <a:pt x="612" y="47"/>
                  </a:cubicBezTo>
                  <a:cubicBezTo>
                    <a:pt x="622" y="44"/>
                    <a:pt x="628" y="50"/>
                    <a:pt x="635" y="48"/>
                  </a:cubicBezTo>
                  <a:cubicBezTo>
                    <a:pt x="635" y="45"/>
                    <a:pt x="631" y="48"/>
                    <a:pt x="633" y="44"/>
                  </a:cubicBezTo>
                  <a:cubicBezTo>
                    <a:pt x="637" y="45"/>
                    <a:pt x="640" y="47"/>
                    <a:pt x="645" y="47"/>
                  </a:cubicBezTo>
                  <a:cubicBezTo>
                    <a:pt x="646" y="48"/>
                    <a:pt x="646" y="49"/>
                    <a:pt x="645" y="50"/>
                  </a:cubicBezTo>
                  <a:cubicBezTo>
                    <a:pt x="649" y="50"/>
                    <a:pt x="651" y="52"/>
                    <a:pt x="653" y="54"/>
                  </a:cubicBezTo>
                  <a:cubicBezTo>
                    <a:pt x="648" y="58"/>
                    <a:pt x="643" y="48"/>
                    <a:pt x="639" y="54"/>
                  </a:cubicBezTo>
                  <a:cubicBezTo>
                    <a:pt x="646" y="57"/>
                    <a:pt x="652" y="62"/>
                    <a:pt x="661" y="59"/>
                  </a:cubicBezTo>
                  <a:cubicBezTo>
                    <a:pt x="661" y="52"/>
                    <a:pt x="653" y="59"/>
                    <a:pt x="652" y="55"/>
                  </a:cubicBezTo>
                  <a:cubicBezTo>
                    <a:pt x="672" y="52"/>
                    <a:pt x="695" y="70"/>
                    <a:pt x="717" y="64"/>
                  </a:cubicBezTo>
                  <a:cubicBezTo>
                    <a:pt x="725" y="68"/>
                    <a:pt x="736" y="69"/>
                    <a:pt x="747" y="71"/>
                  </a:cubicBezTo>
                  <a:cubicBezTo>
                    <a:pt x="744" y="64"/>
                    <a:pt x="738" y="68"/>
                    <a:pt x="732" y="67"/>
                  </a:cubicBezTo>
                  <a:close/>
                  <a:moveTo>
                    <a:pt x="60" y="652"/>
                  </a:moveTo>
                  <a:cubicBezTo>
                    <a:pt x="56" y="649"/>
                    <a:pt x="61" y="641"/>
                    <a:pt x="61" y="636"/>
                  </a:cubicBezTo>
                  <a:cubicBezTo>
                    <a:pt x="66" y="642"/>
                    <a:pt x="62" y="646"/>
                    <a:pt x="60" y="652"/>
                  </a:cubicBezTo>
                  <a:close/>
                  <a:moveTo>
                    <a:pt x="380" y="1401"/>
                  </a:moveTo>
                  <a:cubicBezTo>
                    <a:pt x="381" y="1407"/>
                    <a:pt x="388" y="1407"/>
                    <a:pt x="384" y="1414"/>
                  </a:cubicBezTo>
                  <a:cubicBezTo>
                    <a:pt x="381" y="1414"/>
                    <a:pt x="383" y="1410"/>
                    <a:pt x="381" y="1410"/>
                  </a:cubicBezTo>
                  <a:cubicBezTo>
                    <a:pt x="381" y="1409"/>
                    <a:pt x="383" y="1409"/>
                    <a:pt x="384" y="1409"/>
                  </a:cubicBezTo>
                  <a:cubicBezTo>
                    <a:pt x="382" y="1407"/>
                    <a:pt x="382" y="1405"/>
                    <a:pt x="379" y="1405"/>
                  </a:cubicBezTo>
                  <a:cubicBezTo>
                    <a:pt x="380" y="1407"/>
                    <a:pt x="373" y="1409"/>
                    <a:pt x="373" y="1404"/>
                  </a:cubicBezTo>
                  <a:cubicBezTo>
                    <a:pt x="377" y="1403"/>
                    <a:pt x="375" y="1402"/>
                    <a:pt x="380" y="1401"/>
                  </a:cubicBezTo>
                  <a:close/>
                  <a:moveTo>
                    <a:pt x="119" y="1239"/>
                  </a:moveTo>
                  <a:cubicBezTo>
                    <a:pt x="118" y="1237"/>
                    <a:pt x="117" y="1236"/>
                    <a:pt x="116" y="1234"/>
                  </a:cubicBezTo>
                  <a:cubicBezTo>
                    <a:pt x="116" y="1236"/>
                    <a:pt x="117" y="1238"/>
                    <a:pt x="119" y="1239"/>
                  </a:cubicBezTo>
                  <a:close/>
                  <a:moveTo>
                    <a:pt x="1279" y="110"/>
                  </a:moveTo>
                  <a:cubicBezTo>
                    <a:pt x="1291" y="112"/>
                    <a:pt x="1291" y="124"/>
                    <a:pt x="1301" y="127"/>
                  </a:cubicBezTo>
                  <a:cubicBezTo>
                    <a:pt x="1304" y="123"/>
                    <a:pt x="1297" y="119"/>
                    <a:pt x="1301" y="115"/>
                  </a:cubicBezTo>
                  <a:cubicBezTo>
                    <a:pt x="1292" y="82"/>
                    <a:pt x="1253" y="76"/>
                    <a:pt x="1235" y="55"/>
                  </a:cubicBezTo>
                  <a:cubicBezTo>
                    <a:pt x="1241" y="60"/>
                    <a:pt x="1248" y="64"/>
                    <a:pt x="1255" y="68"/>
                  </a:cubicBezTo>
                  <a:cubicBezTo>
                    <a:pt x="1256" y="65"/>
                    <a:pt x="1251" y="64"/>
                    <a:pt x="1254" y="63"/>
                  </a:cubicBezTo>
                  <a:cubicBezTo>
                    <a:pt x="1269" y="69"/>
                    <a:pt x="1280" y="82"/>
                    <a:pt x="1295" y="85"/>
                  </a:cubicBezTo>
                  <a:cubicBezTo>
                    <a:pt x="1294" y="85"/>
                    <a:pt x="1292" y="83"/>
                    <a:pt x="1294" y="83"/>
                  </a:cubicBezTo>
                  <a:cubicBezTo>
                    <a:pt x="1321" y="93"/>
                    <a:pt x="1341" y="109"/>
                    <a:pt x="1361" y="126"/>
                  </a:cubicBezTo>
                  <a:cubicBezTo>
                    <a:pt x="1363" y="128"/>
                    <a:pt x="1364" y="125"/>
                    <a:pt x="1366" y="127"/>
                  </a:cubicBezTo>
                  <a:cubicBezTo>
                    <a:pt x="1365" y="131"/>
                    <a:pt x="1368" y="130"/>
                    <a:pt x="1368" y="133"/>
                  </a:cubicBezTo>
                  <a:cubicBezTo>
                    <a:pt x="1365" y="131"/>
                    <a:pt x="1363" y="128"/>
                    <a:pt x="1359" y="127"/>
                  </a:cubicBezTo>
                  <a:cubicBezTo>
                    <a:pt x="1359" y="129"/>
                    <a:pt x="1359" y="131"/>
                    <a:pt x="1358" y="131"/>
                  </a:cubicBezTo>
                  <a:cubicBezTo>
                    <a:pt x="1355" y="128"/>
                    <a:pt x="1352" y="125"/>
                    <a:pt x="1348" y="122"/>
                  </a:cubicBezTo>
                  <a:cubicBezTo>
                    <a:pt x="1357" y="133"/>
                    <a:pt x="1366" y="147"/>
                    <a:pt x="1370" y="159"/>
                  </a:cubicBezTo>
                  <a:cubicBezTo>
                    <a:pt x="1370" y="158"/>
                    <a:pt x="1372" y="157"/>
                    <a:pt x="1373" y="157"/>
                  </a:cubicBezTo>
                  <a:cubicBezTo>
                    <a:pt x="1376" y="162"/>
                    <a:pt x="1381" y="165"/>
                    <a:pt x="1383" y="170"/>
                  </a:cubicBezTo>
                  <a:cubicBezTo>
                    <a:pt x="1383" y="175"/>
                    <a:pt x="1380" y="175"/>
                    <a:pt x="1383" y="179"/>
                  </a:cubicBezTo>
                  <a:cubicBezTo>
                    <a:pt x="1386" y="177"/>
                    <a:pt x="1390" y="179"/>
                    <a:pt x="1393" y="183"/>
                  </a:cubicBezTo>
                  <a:cubicBezTo>
                    <a:pt x="1386" y="167"/>
                    <a:pt x="1375" y="155"/>
                    <a:pt x="1367" y="141"/>
                  </a:cubicBezTo>
                  <a:cubicBezTo>
                    <a:pt x="1395" y="168"/>
                    <a:pt x="1421" y="203"/>
                    <a:pt x="1450" y="226"/>
                  </a:cubicBezTo>
                  <a:cubicBezTo>
                    <a:pt x="1454" y="228"/>
                    <a:pt x="1451" y="223"/>
                    <a:pt x="1453" y="223"/>
                  </a:cubicBezTo>
                  <a:cubicBezTo>
                    <a:pt x="1457" y="230"/>
                    <a:pt x="1464" y="234"/>
                    <a:pt x="1469" y="241"/>
                  </a:cubicBezTo>
                  <a:cubicBezTo>
                    <a:pt x="1476" y="250"/>
                    <a:pt x="1489" y="260"/>
                    <a:pt x="1492" y="268"/>
                  </a:cubicBezTo>
                  <a:cubicBezTo>
                    <a:pt x="1492" y="271"/>
                    <a:pt x="1493" y="277"/>
                    <a:pt x="1493" y="280"/>
                  </a:cubicBezTo>
                  <a:cubicBezTo>
                    <a:pt x="1495" y="288"/>
                    <a:pt x="1495" y="297"/>
                    <a:pt x="1499" y="303"/>
                  </a:cubicBezTo>
                  <a:cubicBezTo>
                    <a:pt x="1502" y="307"/>
                    <a:pt x="1509" y="308"/>
                    <a:pt x="1513" y="311"/>
                  </a:cubicBezTo>
                  <a:cubicBezTo>
                    <a:pt x="1515" y="313"/>
                    <a:pt x="1514" y="318"/>
                    <a:pt x="1518" y="316"/>
                  </a:cubicBezTo>
                  <a:cubicBezTo>
                    <a:pt x="1513" y="306"/>
                    <a:pt x="1511" y="297"/>
                    <a:pt x="1505" y="287"/>
                  </a:cubicBezTo>
                  <a:cubicBezTo>
                    <a:pt x="1508" y="285"/>
                    <a:pt x="1510" y="289"/>
                    <a:pt x="1511" y="287"/>
                  </a:cubicBezTo>
                  <a:cubicBezTo>
                    <a:pt x="1508" y="282"/>
                    <a:pt x="1502" y="276"/>
                    <a:pt x="1502" y="271"/>
                  </a:cubicBezTo>
                  <a:cubicBezTo>
                    <a:pt x="1509" y="270"/>
                    <a:pt x="1514" y="284"/>
                    <a:pt x="1519" y="285"/>
                  </a:cubicBezTo>
                  <a:cubicBezTo>
                    <a:pt x="1515" y="279"/>
                    <a:pt x="1511" y="273"/>
                    <a:pt x="1507" y="267"/>
                  </a:cubicBezTo>
                  <a:cubicBezTo>
                    <a:pt x="1517" y="278"/>
                    <a:pt x="1527" y="289"/>
                    <a:pt x="1536" y="301"/>
                  </a:cubicBezTo>
                  <a:cubicBezTo>
                    <a:pt x="1534" y="301"/>
                    <a:pt x="1533" y="299"/>
                    <a:pt x="1533" y="301"/>
                  </a:cubicBezTo>
                  <a:cubicBezTo>
                    <a:pt x="1534" y="303"/>
                    <a:pt x="1536" y="304"/>
                    <a:pt x="1537" y="308"/>
                  </a:cubicBezTo>
                  <a:cubicBezTo>
                    <a:pt x="1532" y="303"/>
                    <a:pt x="1529" y="298"/>
                    <a:pt x="1523" y="297"/>
                  </a:cubicBezTo>
                  <a:cubicBezTo>
                    <a:pt x="1532" y="309"/>
                    <a:pt x="1543" y="319"/>
                    <a:pt x="1550" y="333"/>
                  </a:cubicBezTo>
                  <a:cubicBezTo>
                    <a:pt x="1545" y="340"/>
                    <a:pt x="1555" y="346"/>
                    <a:pt x="1552" y="356"/>
                  </a:cubicBezTo>
                  <a:cubicBezTo>
                    <a:pt x="1553" y="358"/>
                    <a:pt x="1556" y="358"/>
                    <a:pt x="1558" y="359"/>
                  </a:cubicBezTo>
                  <a:cubicBezTo>
                    <a:pt x="1557" y="362"/>
                    <a:pt x="1554" y="361"/>
                    <a:pt x="1555" y="364"/>
                  </a:cubicBezTo>
                  <a:cubicBezTo>
                    <a:pt x="1557" y="367"/>
                    <a:pt x="1563" y="371"/>
                    <a:pt x="1562" y="374"/>
                  </a:cubicBezTo>
                  <a:cubicBezTo>
                    <a:pt x="1559" y="373"/>
                    <a:pt x="1558" y="369"/>
                    <a:pt x="1554" y="369"/>
                  </a:cubicBezTo>
                  <a:cubicBezTo>
                    <a:pt x="1555" y="375"/>
                    <a:pt x="1560" y="377"/>
                    <a:pt x="1561" y="383"/>
                  </a:cubicBezTo>
                  <a:cubicBezTo>
                    <a:pt x="1586" y="415"/>
                    <a:pt x="1596" y="460"/>
                    <a:pt x="1625" y="487"/>
                  </a:cubicBezTo>
                  <a:cubicBezTo>
                    <a:pt x="1625" y="486"/>
                    <a:pt x="1625" y="484"/>
                    <a:pt x="1626" y="484"/>
                  </a:cubicBezTo>
                  <a:cubicBezTo>
                    <a:pt x="1632" y="501"/>
                    <a:pt x="1644" y="510"/>
                    <a:pt x="1648" y="528"/>
                  </a:cubicBezTo>
                  <a:cubicBezTo>
                    <a:pt x="1651" y="524"/>
                    <a:pt x="1644" y="518"/>
                    <a:pt x="1647" y="514"/>
                  </a:cubicBezTo>
                  <a:cubicBezTo>
                    <a:pt x="1656" y="534"/>
                    <a:pt x="1671" y="555"/>
                    <a:pt x="1668" y="580"/>
                  </a:cubicBezTo>
                  <a:cubicBezTo>
                    <a:pt x="1668" y="585"/>
                    <a:pt x="1664" y="588"/>
                    <a:pt x="1663" y="592"/>
                  </a:cubicBezTo>
                  <a:cubicBezTo>
                    <a:pt x="1663" y="595"/>
                    <a:pt x="1665" y="598"/>
                    <a:pt x="1665" y="600"/>
                  </a:cubicBezTo>
                  <a:cubicBezTo>
                    <a:pt x="1668" y="621"/>
                    <a:pt x="1667" y="635"/>
                    <a:pt x="1672" y="650"/>
                  </a:cubicBezTo>
                  <a:cubicBezTo>
                    <a:pt x="1674" y="657"/>
                    <a:pt x="1679" y="663"/>
                    <a:pt x="1682" y="671"/>
                  </a:cubicBezTo>
                  <a:cubicBezTo>
                    <a:pt x="1684" y="682"/>
                    <a:pt x="1682" y="693"/>
                    <a:pt x="1689" y="701"/>
                  </a:cubicBezTo>
                  <a:cubicBezTo>
                    <a:pt x="1689" y="678"/>
                    <a:pt x="1689" y="678"/>
                    <a:pt x="1689" y="678"/>
                  </a:cubicBezTo>
                  <a:cubicBezTo>
                    <a:pt x="1695" y="680"/>
                    <a:pt x="1688" y="666"/>
                    <a:pt x="1693" y="663"/>
                  </a:cubicBezTo>
                  <a:cubicBezTo>
                    <a:pt x="1698" y="672"/>
                    <a:pt x="1697" y="688"/>
                    <a:pt x="1701" y="699"/>
                  </a:cubicBezTo>
                  <a:cubicBezTo>
                    <a:pt x="1696" y="644"/>
                    <a:pt x="1684" y="595"/>
                    <a:pt x="1668" y="548"/>
                  </a:cubicBezTo>
                  <a:cubicBezTo>
                    <a:pt x="1631" y="438"/>
                    <a:pt x="1580" y="350"/>
                    <a:pt x="1516" y="270"/>
                  </a:cubicBezTo>
                  <a:cubicBezTo>
                    <a:pt x="1452" y="190"/>
                    <a:pt x="1375" y="128"/>
                    <a:pt x="1285" y="73"/>
                  </a:cubicBezTo>
                  <a:cubicBezTo>
                    <a:pt x="1257" y="57"/>
                    <a:pt x="1214" y="32"/>
                    <a:pt x="1183" y="25"/>
                  </a:cubicBezTo>
                  <a:cubicBezTo>
                    <a:pt x="1172" y="14"/>
                    <a:pt x="1152" y="22"/>
                    <a:pt x="1135" y="23"/>
                  </a:cubicBezTo>
                  <a:cubicBezTo>
                    <a:pt x="1140" y="27"/>
                    <a:pt x="1147" y="29"/>
                    <a:pt x="1150" y="34"/>
                  </a:cubicBezTo>
                  <a:cubicBezTo>
                    <a:pt x="1155" y="30"/>
                    <a:pt x="1165" y="32"/>
                    <a:pt x="1168" y="29"/>
                  </a:cubicBezTo>
                  <a:cubicBezTo>
                    <a:pt x="1169" y="36"/>
                    <a:pt x="1178" y="35"/>
                    <a:pt x="1182" y="38"/>
                  </a:cubicBezTo>
                  <a:cubicBezTo>
                    <a:pt x="1178" y="38"/>
                    <a:pt x="1181" y="41"/>
                    <a:pt x="1178" y="44"/>
                  </a:cubicBezTo>
                  <a:cubicBezTo>
                    <a:pt x="1195" y="45"/>
                    <a:pt x="1207" y="59"/>
                    <a:pt x="1222" y="63"/>
                  </a:cubicBezTo>
                  <a:cubicBezTo>
                    <a:pt x="1223" y="63"/>
                    <a:pt x="1226" y="62"/>
                    <a:pt x="1227" y="62"/>
                  </a:cubicBezTo>
                  <a:cubicBezTo>
                    <a:pt x="1230" y="62"/>
                    <a:pt x="1233" y="65"/>
                    <a:pt x="1237" y="67"/>
                  </a:cubicBezTo>
                  <a:cubicBezTo>
                    <a:pt x="1237" y="67"/>
                    <a:pt x="1237" y="64"/>
                    <a:pt x="1238" y="65"/>
                  </a:cubicBezTo>
                  <a:cubicBezTo>
                    <a:pt x="1246" y="68"/>
                    <a:pt x="1253" y="73"/>
                    <a:pt x="1259" y="80"/>
                  </a:cubicBezTo>
                  <a:cubicBezTo>
                    <a:pt x="1257" y="81"/>
                    <a:pt x="1255" y="77"/>
                    <a:pt x="1254" y="80"/>
                  </a:cubicBezTo>
                  <a:cubicBezTo>
                    <a:pt x="1259" y="82"/>
                    <a:pt x="1257" y="86"/>
                    <a:pt x="1258" y="89"/>
                  </a:cubicBezTo>
                  <a:cubicBezTo>
                    <a:pt x="1264" y="90"/>
                    <a:pt x="1267" y="93"/>
                    <a:pt x="1268" y="99"/>
                  </a:cubicBezTo>
                  <a:cubicBezTo>
                    <a:pt x="1272" y="101"/>
                    <a:pt x="1276" y="102"/>
                    <a:pt x="1278" y="104"/>
                  </a:cubicBezTo>
                  <a:cubicBezTo>
                    <a:pt x="1278" y="107"/>
                    <a:pt x="1279" y="108"/>
                    <a:pt x="1279" y="110"/>
                  </a:cubicBezTo>
                  <a:close/>
                  <a:moveTo>
                    <a:pt x="1357" y="178"/>
                  </a:moveTo>
                  <a:cubicBezTo>
                    <a:pt x="1361" y="180"/>
                    <a:pt x="1366" y="187"/>
                    <a:pt x="1370" y="186"/>
                  </a:cubicBezTo>
                  <a:cubicBezTo>
                    <a:pt x="1366" y="183"/>
                    <a:pt x="1362" y="176"/>
                    <a:pt x="1357" y="178"/>
                  </a:cubicBezTo>
                  <a:close/>
                  <a:moveTo>
                    <a:pt x="1406" y="207"/>
                  </a:moveTo>
                  <a:cubicBezTo>
                    <a:pt x="1400" y="202"/>
                    <a:pt x="1401" y="190"/>
                    <a:pt x="1393" y="188"/>
                  </a:cubicBezTo>
                  <a:cubicBezTo>
                    <a:pt x="1392" y="190"/>
                    <a:pt x="1392" y="193"/>
                    <a:pt x="1391" y="194"/>
                  </a:cubicBezTo>
                  <a:cubicBezTo>
                    <a:pt x="1382" y="196"/>
                    <a:pt x="1379" y="193"/>
                    <a:pt x="1373" y="189"/>
                  </a:cubicBezTo>
                  <a:cubicBezTo>
                    <a:pt x="1375" y="193"/>
                    <a:pt x="1380" y="193"/>
                    <a:pt x="1382" y="195"/>
                  </a:cubicBezTo>
                  <a:cubicBezTo>
                    <a:pt x="1383" y="198"/>
                    <a:pt x="1381" y="198"/>
                    <a:pt x="1381" y="200"/>
                  </a:cubicBezTo>
                  <a:cubicBezTo>
                    <a:pt x="1389" y="204"/>
                    <a:pt x="1394" y="209"/>
                    <a:pt x="1400" y="215"/>
                  </a:cubicBezTo>
                  <a:cubicBezTo>
                    <a:pt x="1404" y="211"/>
                    <a:pt x="1409" y="213"/>
                    <a:pt x="1413" y="215"/>
                  </a:cubicBezTo>
                  <a:cubicBezTo>
                    <a:pt x="1413" y="217"/>
                    <a:pt x="1411" y="217"/>
                    <a:pt x="1410" y="216"/>
                  </a:cubicBezTo>
                  <a:cubicBezTo>
                    <a:pt x="1411" y="221"/>
                    <a:pt x="1415" y="222"/>
                    <a:pt x="1419" y="224"/>
                  </a:cubicBezTo>
                  <a:cubicBezTo>
                    <a:pt x="1416" y="217"/>
                    <a:pt x="1415" y="208"/>
                    <a:pt x="1406" y="207"/>
                  </a:cubicBezTo>
                  <a:close/>
                  <a:moveTo>
                    <a:pt x="1504" y="338"/>
                  </a:moveTo>
                  <a:cubicBezTo>
                    <a:pt x="1504" y="338"/>
                    <a:pt x="1503" y="338"/>
                    <a:pt x="1503" y="337"/>
                  </a:cubicBezTo>
                  <a:cubicBezTo>
                    <a:pt x="1503" y="338"/>
                    <a:pt x="1503" y="339"/>
                    <a:pt x="1504" y="338"/>
                  </a:cubicBezTo>
                  <a:close/>
                  <a:moveTo>
                    <a:pt x="1506" y="326"/>
                  </a:moveTo>
                  <a:cubicBezTo>
                    <a:pt x="1504" y="318"/>
                    <a:pt x="1500" y="311"/>
                    <a:pt x="1492" y="313"/>
                  </a:cubicBezTo>
                  <a:cubicBezTo>
                    <a:pt x="1493" y="323"/>
                    <a:pt x="1498" y="333"/>
                    <a:pt x="1503" y="337"/>
                  </a:cubicBezTo>
                  <a:cubicBezTo>
                    <a:pt x="1503" y="336"/>
                    <a:pt x="1503" y="334"/>
                    <a:pt x="1504" y="335"/>
                  </a:cubicBezTo>
                  <a:cubicBezTo>
                    <a:pt x="1506" y="336"/>
                    <a:pt x="1505" y="340"/>
                    <a:pt x="1509" y="340"/>
                  </a:cubicBezTo>
                  <a:cubicBezTo>
                    <a:pt x="1508" y="331"/>
                    <a:pt x="1504" y="330"/>
                    <a:pt x="1502" y="323"/>
                  </a:cubicBezTo>
                  <a:cubicBezTo>
                    <a:pt x="1504" y="323"/>
                    <a:pt x="1504" y="326"/>
                    <a:pt x="1506" y="326"/>
                  </a:cubicBezTo>
                  <a:close/>
                  <a:moveTo>
                    <a:pt x="1696" y="874"/>
                  </a:moveTo>
                  <a:cubicBezTo>
                    <a:pt x="1696" y="872"/>
                    <a:pt x="1697" y="872"/>
                    <a:pt x="1698" y="873"/>
                  </a:cubicBezTo>
                  <a:cubicBezTo>
                    <a:pt x="1698" y="869"/>
                    <a:pt x="1702" y="864"/>
                    <a:pt x="1699" y="861"/>
                  </a:cubicBezTo>
                  <a:cubicBezTo>
                    <a:pt x="1699" y="866"/>
                    <a:pt x="1695" y="872"/>
                    <a:pt x="1696" y="874"/>
                  </a:cubicBezTo>
                  <a:close/>
                  <a:moveTo>
                    <a:pt x="824" y="1523"/>
                  </a:moveTo>
                  <a:cubicBezTo>
                    <a:pt x="826" y="1525"/>
                    <a:pt x="831" y="1524"/>
                    <a:pt x="833" y="1523"/>
                  </a:cubicBezTo>
                  <a:cubicBezTo>
                    <a:pt x="833" y="1525"/>
                    <a:pt x="833" y="1526"/>
                    <a:pt x="834" y="1527"/>
                  </a:cubicBezTo>
                  <a:cubicBezTo>
                    <a:pt x="832" y="1527"/>
                    <a:pt x="830" y="1528"/>
                    <a:pt x="829" y="1530"/>
                  </a:cubicBezTo>
                  <a:cubicBezTo>
                    <a:pt x="836" y="1537"/>
                    <a:pt x="841" y="1523"/>
                    <a:pt x="845" y="1528"/>
                  </a:cubicBezTo>
                  <a:cubicBezTo>
                    <a:pt x="847" y="1522"/>
                    <a:pt x="852" y="1519"/>
                    <a:pt x="855" y="1515"/>
                  </a:cubicBezTo>
                  <a:cubicBezTo>
                    <a:pt x="846" y="1516"/>
                    <a:pt x="829" y="1515"/>
                    <a:pt x="824" y="1523"/>
                  </a:cubicBez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6" name="Freeform 10" descr="© INSCALE GmbH, 15.06.2010"/>
            <p:cNvSpPr>
              <a:spLocks noEditPoints="1"/>
            </p:cNvSpPr>
            <p:nvPr/>
          </p:nvSpPr>
          <p:spPr bwMode="auto">
            <a:xfrm>
              <a:off x="1661" y="1137"/>
              <a:ext cx="2411" cy="2314"/>
            </a:xfrm>
            <a:custGeom>
              <a:avLst/>
              <a:gdLst>
                <a:gd name="T0" fmla="*/ 1157 w 1683"/>
                <a:gd name="T1" fmla="*/ 29 h 1609"/>
                <a:gd name="T2" fmla="*/ 617 w 1683"/>
                <a:gd name="T3" fmla="*/ 117 h 1609"/>
                <a:gd name="T4" fmla="*/ 656 w 1683"/>
                <a:gd name="T5" fmla="*/ 178 h 1609"/>
                <a:gd name="T6" fmla="*/ 239 w 1683"/>
                <a:gd name="T7" fmla="*/ 258 h 1609"/>
                <a:gd name="T8" fmla="*/ 536 w 1683"/>
                <a:gd name="T9" fmla="*/ 255 h 1609"/>
                <a:gd name="T10" fmla="*/ 663 w 1683"/>
                <a:gd name="T11" fmla="*/ 454 h 1609"/>
                <a:gd name="T12" fmla="*/ 900 w 1683"/>
                <a:gd name="T13" fmla="*/ 474 h 1609"/>
                <a:gd name="T14" fmla="*/ 922 w 1683"/>
                <a:gd name="T15" fmla="*/ 511 h 1609"/>
                <a:gd name="T16" fmla="*/ 908 w 1683"/>
                <a:gd name="T17" fmla="*/ 527 h 1609"/>
                <a:gd name="T18" fmla="*/ 895 w 1683"/>
                <a:gd name="T19" fmla="*/ 533 h 1609"/>
                <a:gd name="T20" fmla="*/ 1040 w 1683"/>
                <a:gd name="T21" fmla="*/ 559 h 1609"/>
                <a:gd name="T22" fmla="*/ 1319 w 1683"/>
                <a:gd name="T23" fmla="*/ 1342 h 1609"/>
                <a:gd name="T24" fmla="*/ 1320 w 1683"/>
                <a:gd name="T25" fmla="*/ 1379 h 1609"/>
                <a:gd name="T26" fmla="*/ 576 w 1683"/>
                <a:gd name="T27" fmla="*/ 31 h 1609"/>
                <a:gd name="T28" fmla="*/ 469 w 1683"/>
                <a:gd name="T29" fmla="*/ 123 h 1609"/>
                <a:gd name="T30" fmla="*/ 676 w 1683"/>
                <a:gd name="T31" fmla="*/ 54 h 1609"/>
                <a:gd name="T32" fmla="*/ 618 w 1683"/>
                <a:gd name="T33" fmla="*/ 4 h 1609"/>
                <a:gd name="T34" fmla="*/ 595 w 1683"/>
                <a:gd name="T35" fmla="*/ 5 h 1609"/>
                <a:gd name="T36" fmla="*/ 513 w 1683"/>
                <a:gd name="T37" fmla="*/ 46 h 1609"/>
                <a:gd name="T38" fmla="*/ 422 w 1683"/>
                <a:gd name="T39" fmla="*/ 75 h 1609"/>
                <a:gd name="T40" fmla="*/ 459 w 1683"/>
                <a:gd name="T41" fmla="*/ 67 h 1609"/>
                <a:gd name="T42" fmla="*/ 1681 w 1683"/>
                <a:gd name="T43" fmla="*/ 642 h 1609"/>
                <a:gd name="T44" fmla="*/ 1077 w 1683"/>
                <a:gd name="T45" fmla="*/ 36 h 1609"/>
                <a:gd name="T46" fmla="*/ 1098 w 1683"/>
                <a:gd name="T47" fmla="*/ 110 h 1609"/>
                <a:gd name="T48" fmla="*/ 979 w 1683"/>
                <a:gd name="T49" fmla="*/ 117 h 1609"/>
                <a:gd name="T50" fmla="*/ 948 w 1683"/>
                <a:gd name="T51" fmla="*/ 122 h 1609"/>
                <a:gd name="T52" fmla="*/ 820 w 1683"/>
                <a:gd name="T53" fmla="*/ 97 h 1609"/>
                <a:gd name="T54" fmla="*/ 698 w 1683"/>
                <a:gd name="T55" fmla="*/ 200 h 1609"/>
                <a:gd name="T56" fmla="*/ 828 w 1683"/>
                <a:gd name="T57" fmla="*/ 182 h 1609"/>
                <a:gd name="T58" fmla="*/ 734 w 1683"/>
                <a:gd name="T59" fmla="*/ 228 h 1609"/>
                <a:gd name="T60" fmla="*/ 635 w 1683"/>
                <a:gd name="T61" fmla="*/ 272 h 1609"/>
                <a:gd name="T62" fmla="*/ 593 w 1683"/>
                <a:gd name="T63" fmla="*/ 234 h 1609"/>
                <a:gd name="T64" fmla="*/ 621 w 1683"/>
                <a:gd name="T65" fmla="*/ 295 h 1609"/>
                <a:gd name="T66" fmla="*/ 441 w 1683"/>
                <a:gd name="T67" fmla="*/ 441 h 1609"/>
                <a:gd name="T68" fmla="*/ 621 w 1683"/>
                <a:gd name="T69" fmla="*/ 411 h 1609"/>
                <a:gd name="T70" fmla="*/ 709 w 1683"/>
                <a:gd name="T71" fmla="*/ 512 h 1609"/>
                <a:gd name="T72" fmla="*/ 740 w 1683"/>
                <a:gd name="T73" fmla="*/ 381 h 1609"/>
                <a:gd name="T74" fmla="*/ 870 w 1683"/>
                <a:gd name="T75" fmla="*/ 536 h 1609"/>
                <a:gd name="T76" fmla="*/ 911 w 1683"/>
                <a:gd name="T77" fmla="*/ 470 h 1609"/>
                <a:gd name="T78" fmla="*/ 1059 w 1683"/>
                <a:gd name="T79" fmla="*/ 616 h 1609"/>
                <a:gd name="T80" fmla="*/ 834 w 1683"/>
                <a:gd name="T81" fmla="*/ 603 h 1609"/>
                <a:gd name="T82" fmla="*/ 677 w 1683"/>
                <a:gd name="T83" fmla="*/ 539 h 1609"/>
                <a:gd name="T84" fmla="*/ 369 w 1683"/>
                <a:gd name="T85" fmla="*/ 587 h 1609"/>
                <a:gd name="T86" fmla="*/ 215 w 1683"/>
                <a:gd name="T87" fmla="*/ 834 h 1609"/>
                <a:gd name="T88" fmla="*/ 317 w 1683"/>
                <a:gd name="T89" fmla="*/ 1065 h 1609"/>
                <a:gd name="T90" fmla="*/ 592 w 1683"/>
                <a:gd name="T91" fmla="*/ 1115 h 1609"/>
                <a:gd name="T92" fmla="*/ 681 w 1683"/>
                <a:gd name="T93" fmla="*/ 1291 h 1609"/>
                <a:gd name="T94" fmla="*/ 733 w 1683"/>
                <a:gd name="T95" fmla="*/ 1503 h 1609"/>
                <a:gd name="T96" fmla="*/ 1016 w 1683"/>
                <a:gd name="T97" fmla="*/ 1556 h 1609"/>
                <a:gd name="T98" fmla="*/ 1197 w 1683"/>
                <a:gd name="T99" fmla="*/ 1373 h 1609"/>
                <a:gd name="T100" fmla="*/ 1271 w 1683"/>
                <a:gd name="T101" fmla="*/ 1154 h 1609"/>
                <a:gd name="T102" fmla="*/ 1311 w 1683"/>
                <a:gd name="T103" fmla="*/ 967 h 1609"/>
                <a:gd name="T104" fmla="*/ 1135 w 1683"/>
                <a:gd name="T105" fmla="*/ 797 h 1609"/>
                <a:gd name="T106" fmla="*/ 1197 w 1683"/>
                <a:gd name="T107" fmla="*/ 810 h 1609"/>
                <a:gd name="T108" fmla="*/ 1447 w 1683"/>
                <a:gd name="T109" fmla="*/ 788 h 1609"/>
                <a:gd name="T110" fmla="*/ 1277 w 1683"/>
                <a:gd name="T111" fmla="*/ 635 h 1609"/>
                <a:gd name="T112" fmla="*/ 1531 w 1683"/>
                <a:gd name="T113" fmla="*/ 652 h 1609"/>
                <a:gd name="T114" fmla="*/ 1658 w 1683"/>
                <a:gd name="T115" fmla="*/ 862 h 1609"/>
                <a:gd name="T116" fmla="*/ 1038 w 1683"/>
                <a:gd name="T117" fmla="*/ 440 h 1609"/>
                <a:gd name="T118" fmla="*/ 991 w 1683"/>
                <a:gd name="T119" fmla="*/ 389 h 1609"/>
                <a:gd name="T120" fmla="*/ 1099 w 1683"/>
                <a:gd name="T121" fmla="*/ 418 h 1609"/>
                <a:gd name="T122" fmla="*/ 287 w 1683"/>
                <a:gd name="T123" fmla="*/ 206 h 1609"/>
                <a:gd name="T124" fmla="*/ 50 w 1683"/>
                <a:gd name="T125" fmla="*/ 1063 h 1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83" h="1609">
                  <a:moveTo>
                    <a:pt x="1008" y="20"/>
                  </a:moveTo>
                  <a:cubicBezTo>
                    <a:pt x="1021" y="27"/>
                    <a:pt x="1028" y="27"/>
                    <a:pt x="1045" y="29"/>
                  </a:cubicBezTo>
                  <a:cubicBezTo>
                    <a:pt x="1035" y="22"/>
                    <a:pt x="1023" y="21"/>
                    <a:pt x="1008" y="20"/>
                  </a:cubicBezTo>
                  <a:close/>
                  <a:moveTo>
                    <a:pt x="1146" y="26"/>
                  </a:moveTo>
                  <a:cubicBezTo>
                    <a:pt x="1143" y="26"/>
                    <a:pt x="1143" y="22"/>
                    <a:pt x="1141" y="21"/>
                  </a:cubicBezTo>
                  <a:cubicBezTo>
                    <a:pt x="1142" y="21"/>
                    <a:pt x="1146" y="24"/>
                    <a:pt x="1147" y="21"/>
                  </a:cubicBezTo>
                  <a:cubicBezTo>
                    <a:pt x="1138" y="19"/>
                    <a:pt x="1136" y="20"/>
                    <a:pt x="1128" y="22"/>
                  </a:cubicBezTo>
                  <a:cubicBezTo>
                    <a:pt x="1134" y="24"/>
                    <a:pt x="1139" y="27"/>
                    <a:pt x="1146" y="26"/>
                  </a:cubicBezTo>
                  <a:close/>
                  <a:moveTo>
                    <a:pt x="1063" y="27"/>
                  </a:moveTo>
                  <a:cubicBezTo>
                    <a:pt x="1057" y="27"/>
                    <a:pt x="1049" y="23"/>
                    <a:pt x="1045" y="25"/>
                  </a:cubicBezTo>
                  <a:cubicBezTo>
                    <a:pt x="1050" y="26"/>
                    <a:pt x="1053" y="31"/>
                    <a:pt x="1059" y="32"/>
                  </a:cubicBezTo>
                  <a:cubicBezTo>
                    <a:pt x="1060" y="30"/>
                    <a:pt x="1063" y="30"/>
                    <a:pt x="1063" y="27"/>
                  </a:cubicBezTo>
                  <a:close/>
                  <a:moveTo>
                    <a:pt x="1157" y="29"/>
                  </a:moveTo>
                  <a:cubicBezTo>
                    <a:pt x="1159" y="30"/>
                    <a:pt x="1161" y="30"/>
                    <a:pt x="1163" y="31"/>
                  </a:cubicBezTo>
                  <a:cubicBezTo>
                    <a:pt x="1163" y="28"/>
                    <a:pt x="1158" y="27"/>
                    <a:pt x="1157" y="29"/>
                  </a:cubicBezTo>
                  <a:close/>
                  <a:moveTo>
                    <a:pt x="966" y="79"/>
                  </a:moveTo>
                  <a:cubicBezTo>
                    <a:pt x="979" y="79"/>
                    <a:pt x="987" y="91"/>
                    <a:pt x="1000" y="85"/>
                  </a:cubicBezTo>
                  <a:cubicBezTo>
                    <a:pt x="983" y="83"/>
                    <a:pt x="971" y="65"/>
                    <a:pt x="984" y="55"/>
                  </a:cubicBezTo>
                  <a:cubicBezTo>
                    <a:pt x="988" y="52"/>
                    <a:pt x="993" y="54"/>
                    <a:pt x="996" y="49"/>
                  </a:cubicBezTo>
                  <a:cubicBezTo>
                    <a:pt x="992" y="41"/>
                    <a:pt x="983" y="46"/>
                    <a:pt x="978" y="50"/>
                  </a:cubicBezTo>
                  <a:cubicBezTo>
                    <a:pt x="970" y="49"/>
                    <a:pt x="966" y="53"/>
                    <a:pt x="962" y="58"/>
                  </a:cubicBezTo>
                  <a:cubicBezTo>
                    <a:pt x="969" y="61"/>
                    <a:pt x="963" y="73"/>
                    <a:pt x="966" y="79"/>
                  </a:cubicBezTo>
                  <a:close/>
                  <a:moveTo>
                    <a:pt x="1026" y="63"/>
                  </a:moveTo>
                  <a:cubicBezTo>
                    <a:pt x="1029" y="64"/>
                    <a:pt x="1031" y="68"/>
                    <a:pt x="1033" y="64"/>
                  </a:cubicBezTo>
                  <a:cubicBezTo>
                    <a:pt x="1032" y="63"/>
                    <a:pt x="1028" y="61"/>
                    <a:pt x="1026" y="63"/>
                  </a:cubicBezTo>
                  <a:close/>
                  <a:moveTo>
                    <a:pt x="1025" y="92"/>
                  </a:moveTo>
                  <a:cubicBezTo>
                    <a:pt x="1021" y="90"/>
                    <a:pt x="1015" y="86"/>
                    <a:pt x="1011" y="88"/>
                  </a:cubicBezTo>
                  <a:cubicBezTo>
                    <a:pt x="1014" y="90"/>
                    <a:pt x="1020" y="94"/>
                    <a:pt x="1025" y="92"/>
                  </a:cubicBezTo>
                  <a:close/>
                  <a:moveTo>
                    <a:pt x="618" y="123"/>
                  </a:moveTo>
                  <a:cubicBezTo>
                    <a:pt x="612" y="123"/>
                    <a:pt x="617" y="119"/>
                    <a:pt x="617" y="117"/>
                  </a:cubicBezTo>
                  <a:cubicBezTo>
                    <a:pt x="614" y="117"/>
                    <a:pt x="614" y="116"/>
                    <a:pt x="614" y="114"/>
                  </a:cubicBezTo>
                  <a:cubicBezTo>
                    <a:pt x="605" y="120"/>
                    <a:pt x="599" y="113"/>
                    <a:pt x="590" y="118"/>
                  </a:cubicBezTo>
                  <a:cubicBezTo>
                    <a:pt x="590" y="117"/>
                    <a:pt x="590" y="115"/>
                    <a:pt x="589" y="115"/>
                  </a:cubicBezTo>
                  <a:cubicBezTo>
                    <a:pt x="588" y="118"/>
                    <a:pt x="582" y="120"/>
                    <a:pt x="580" y="119"/>
                  </a:cubicBezTo>
                  <a:cubicBezTo>
                    <a:pt x="582" y="117"/>
                    <a:pt x="585" y="116"/>
                    <a:pt x="584" y="111"/>
                  </a:cubicBezTo>
                  <a:cubicBezTo>
                    <a:pt x="577" y="113"/>
                    <a:pt x="569" y="115"/>
                    <a:pt x="565" y="119"/>
                  </a:cubicBezTo>
                  <a:cubicBezTo>
                    <a:pt x="568" y="121"/>
                    <a:pt x="572" y="116"/>
                    <a:pt x="574" y="119"/>
                  </a:cubicBezTo>
                  <a:cubicBezTo>
                    <a:pt x="573" y="125"/>
                    <a:pt x="562" y="121"/>
                    <a:pt x="559" y="125"/>
                  </a:cubicBezTo>
                  <a:cubicBezTo>
                    <a:pt x="563" y="124"/>
                    <a:pt x="564" y="126"/>
                    <a:pt x="566" y="129"/>
                  </a:cubicBezTo>
                  <a:cubicBezTo>
                    <a:pt x="563" y="133"/>
                    <a:pt x="556" y="128"/>
                    <a:pt x="555" y="134"/>
                  </a:cubicBezTo>
                  <a:cubicBezTo>
                    <a:pt x="559" y="135"/>
                    <a:pt x="561" y="134"/>
                    <a:pt x="564" y="133"/>
                  </a:cubicBezTo>
                  <a:cubicBezTo>
                    <a:pt x="564" y="137"/>
                    <a:pt x="567" y="137"/>
                    <a:pt x="568" y="140"/>
                  </a:cubicBezTo>
                  <a:cubicBezTo>
                    <a:pt x="584" y="136"/>
                    <a:pt x="608" y="137"/>
                    <a:pt x="618" y="123"/>
                  </a:cubicBezTo>
                  <a:close/>
                  <a:moveTo>
                    <a:pt x="651" y="184"/>
                  </a:moveTo>
                  <a:cubicBezTo>
                    <a:pt x="654" y="184"/>
                    <a:pt x="656" y="182"/>
                    <a:pt x="656" y="178"/>
                  </a:cubicBezTo>
                  <a:cubicBezTo>
                    <a:pt x="653" y="178"/>
                    <a:pt x="651" y="180"/>
                    <a:pt x="651" y="184"/>
                  </a:cubicBezTo>
                  <a:close/>
                  <a:moveTo>
                    <a:pt x="635" y="196"/>
                  </a:moveTo>
                  <a:cubicBezTo>
                    <a:pt x="634" y="194"/>
                    <a:pt x="634" y="192"/>
                    <a:pt x="633" y="191"/>
                  </a:cubicBezTo>
                  <a:cubicBezTo>
                    <a:pt x="631" y="192"/>
                    <a:pt x="631" y="196"/>
                    <a:pt x="635" y="196"/>
                  </a:cubicBezTo>
                  <a:close/>
                  <a:moveTo>
                    <a:pt x="604" y="197"/>
                  </a:moveTo>
                  <a:cubicBezTo>
                    <a:pt x="601" y="200"/>
                    <a:pt x="595" y="199"/>
                    <a:pt x="595" y="204"/>
                  </a:cubicBezTo>
                  <a:cubicBezTo>
                    <a:pt x="601" y="205"/>
                    <a:pt x="606" y="201"/>
                    <a:pt x="604" y="197"/>
                  </a:cubicBezTo>
                  <a:close/>
                  <a:moveTo>
                    <a:pt x="595" y="213"/>
                  </a:moveTo>
                  <a:cubicBezTo>
                    <a:pt x="599" y="213"/>
                    <a:pt x="599" y="210"/>
                    <a:pt x="599" y="207"/>
                  </a:cubicBezTo>
                  <a:cubicBezTo>
                    <a:pt x="595" y="207"/>
                    <a:pt x="593" y="211"/>
                    <a:pt x="595" y="213"/>
                  </a:cubicBezTo>
                  <a:close/>
                  <a:moveTo>
                    <a:pt x="280" y="210"/>
                  </a:moveTo>
                  <a:cubicBezTo>
                    <a:pt x="262" y="220"/>
                    <a:pt x="248" y="231"/>
                    <a:pt x="232" y="242"/>
                  </a:cubicBezTo>
                  <a:cubicBezTo>
                    <a:pt x="234" y="251"/>
                    <a:pt x="231" y="253"/>
                    <a:pt x="227" y="259"/>
                  </a:cubicBezTo>
                  <a:cubicBezTo>
                    <a:pt x="232" y="260"/>
                    <a:pt x="226" y="264"/>
                    <a:pt x="227" y="266"/>
                  </a:cubicBezTo>
                  <a:cubicBezTo>
                    <a:pt x="232" y="265"/>
                    <a:pt x="235" y="261"/>
                    <a:pt x="239" y="258"/>
                  </a:cubicBezTo>
                  <a:cubicBezTo>
                    <a:pt x="241" y="246"/>
                    <a:pt x="254" y="245"/>
                    <a:pt x="258" y="235"/>
                  </a:cubicBezTo>
                  <a:cubicBezTo>
                    <a:pt x="257" y="234"/>
                    <a:pt x="255" y="238"/>
                    <a:pt x="255" y="235"/>
                  </a:cubicBezTo>
                  <a:cubicBezTo>
                    <a:pt x="261" y="225"/>
                    <a:pt x="272" y="219"/>
                    <a:pt x="280" y="210"/>
                  </a:cubicBezTo>
                  <a:close/>
                  <a:moveTo>
                    <a:pt x="252" y="214"/>
                  </a:moveTo>
                  <a:cubicBezTo>
                    <a:pt x="250" y="216"/>
                    <a:pt x="245" y="220"/>
                    <a:pt x="248" y="224"/>
                  </a:cubicBezTo>
                  <a:cubicBezTo>
                    <a:pt x="250" y="221"/>
                    <a:pt x="254" y="217"/>
                    <a:pt x="252" y="214"/>
                  </a:cubicBezTo>
                  <a:close/>
                  <a:moveTo>
                    <a:pt x="520" y="272"/>
                  </a:moveTo>
                  <a:cubicBezTo>
                    <a:pt x="521" y="276"/>
                    <a:pt x="521" y="277"/>
                    <a:pt x="522" y="280"/>
                  </a:cubicBezTo>
                  <a:cubicBezTo>
                    <a:pt x="540" y="274"/>
                    <a:pt x="569" y="277"/>
                    <a:pt x="570" y="252"/>
                  </a:cubicBezTo>
                  <a:cubicBezTo>
                    <a:pt x="576" y="249"/>
                    <a:pt x="586" y="246"/>
                    <a:pt x="582" y="235"/>
                  </a:cubicBezTo>
                  <a:cubicBezTo>
                    <a:pt x="572" y="230"/>
                    <a:pt x="564" y="233"/>
                    <a:pt x="556" y="239"/>
                  </a:cubicBezTo>
                  <a:cubicBezTo>
                    <a:pt x="556" y="241"/>
                    <a:pt x="557" y="241"/>
                    <a:pt x="557" y="243"/>
                  </a:cubicBezTo>
                  <a:cubicBezTo>
                    <a:pt x="554" y="243"/>
                    <a:pt x="554" y="245"/>
                    <a:pt x="551" y="245"/>
                  </a:cubicBezTo>
                  <a:cubicBezTo>
                    <a:pt x="549" y="244"/>
                    <a:pt x="549" y="241"/>
                    <a:pt x="546" y="242"/>
                  </a:cubicBezTo>
                  <a:cubicBezTo>
                    <a:pt x="542" y="246"/>
                    <a:pt x="538" y="250"/>
                    <a:pt x="536" y="255"/>
                  </a:cubicBezTo>
                  <a:cubicBezTo>
                    <a:pt x="536" y="258"/>
                    <a:pt x="540" y="256"/>
                    <a:pt x="540" y="259"/>
                  </a:cubicBezTo>
                  <a:cubicBezTo>
                    <a:pt x="532" y="263"/>
                    <a:pt x="527" y="268"/>
                    <a:pt x="520" y="272"/>
                  </a:cubicBezTo>
                  <a:close/>
                  <a:moveTo>
                    <a:pt x="591" y="247"/>
                  </a:moveTo>
                  <a:cubicBezTo>
                    <a:pt x="588" y="244"/>
                    <a:pt x="585" y="248"/>
                    <a:pt x="585" y="251"/>
                  </a:cubicBezTo>
                  <a:cubicBezTo>
                    <a:pt x="588" y="251"/>
                    <a:pt x="589" y="249"/>
                    <a:pt x="591" y="247"/>
                  </a:cubicBezTo>
                  <a:close/>
                  <a:moveTo>
                    <a:pt x="212" y="259"/>
                  </a:moveTo>
                  <a:cubicBezTo>
                    <a:pt x="216" y="258"/>
                    <a:pt x="220" y="253"/>
                    <a:pt x="219" y="251"/>
                  </a:cubicBezTo>
                  <a:cubicBezTo>
                    <a:pt x="218" y="254"/>
                    <a:pt x="213" y="255"/>
                    <a:pt x="212" y="259"/>
                  </a:cubicBezTo>
                  <a:close/>
                  <a:moveTo>
                    <a:pt x="673" y="447"/>
                  </a:moveTo>
                  <a:cubicBezTo>
                    <a:pt x="678" y="442"/>
                    <a:pt x="685" y="428"/>
                    <a:pt x="678" y="420"/>
                  </a:cubicBezTo>
                  <a:cubicBezTo>
                    <a:pt x="670" y="427"/>
                    <a:pt x="664" y="431"/>
                    <a:pt x="666" y="444"/>
                  </a:cubicBezTo>
                  <a:cubicBezTo>
                    <a:pt x="669" y="445"/>
                    <a:pt x="669" y="448"/>
                    <a:pt x="673" y="447"/>
                  </a:cubicBezTo>
                  <a:close/>
                  <a:moveTo>
                    <a:pt x="654" y="488"/>
                  </a:moveTo>
                  <a:cubicBezTo>
                    <a:pt x="663" y="487"/>
                    <a:pt x="664" y="483"/>
                    <a:pt x="671" y="485"/>
                  </a:cubicBezTo>
                  <a:cubicBezTo>
                    <a:pt x="677" y="471"/>
                    <a:pt x="685" y="438"/>
                    <a:pt x="663" y="454"/>
                  </a:cubicBezTo>
                  <a:cubicBezTo>
                    <a:pt x="660" y="453"/>
                    <a:pt x="658" y="450"/>
                    <a:pt x="656" y="452"/>
                  </a:cubicBezTo>
                  <a:cubicBezTo>
                    <a:pt x="654" y="456"/>
                    <a:pt x="658" y="457"/>
                    <a:pt x="658" y="461"/>
                  </a:cubicBezTo>
                  <a:cubicBezTo>
                    <a:pt x="658" y="469"/>
                    <a:pt x="651" y="479"/>
                    <a:pt x="654" y="488"/>
                  </a:cubicBezTo>
                  <a:close/>
                  <a:moveTo>
                    <a:pt x="602" y="468"/>
                  </a:moveTo>
                  <a:cubicBezTo>
                    <a:pt x="603" y="464"/>
                    <a:pt x="597" y="462"/>
                    <a:pt x="594" y="465"/>
                  </a:cubicBezTo>
                  <a:cubicBezTo>
                    <a:pt x="595" y="468"/>
                    <a:pt x="599" y="471"/>
                    <a:pt x="602" y="468"/>
                  </a:cubicBezTo>
                  <a:close/>
                  <a:moveTo>
                    <a:pt x="590" y="468"/>
                  </a:moveTo>
                  <a:cubicBezTo>
                    <a:pt x="587" y="463"/>
                    <a:pt x="577" y="465"/>
                    <a:pt x="575" y="470"/>
                  </a:cubicBezTo>
                  <a:cubicBezTo>
                    <a:pt x="578" y="477"/>
                    <a:pt x="590" y="478"/>
                    <a:pt x="590" y="468"/>
                  </a:cubicBezTo>
                  <a:close/>
                  <a:moveTo>
                    <a:pt x="880" y="468"/>
                  </a:moveTo>
                  <a:cubicBezTo>
                    <a:pt x="879" y="472"/>
                    <a:pt x="883" y="470"/>
                    <a:pt x="884" y="470"/>
                  </a:cubicBezTo>
                  <a:cubicBezTo>
                    <a:pt x="885" y="468"/>
                    <a:pt x="881" y="467"/>
                    <a:pt x="880" y="468"/>
                  </a:cubicBezTo>
                  <a:close/>
                  <a:moveTo>
                    <a:pt x="900" y="474"/>
                  </a:moveTo>
                  <a:cubicBezTo>
                    <a:pt x="898" y="473"/>
                    <a:pt x="894" y="473"/>
                    <a:pt x="893" y="474"/>
                  </a:cubicBezTo>
                  <a:cubicBezTo>
                    <a:pt x="892" y="480"/>
                    <a:pt x="900" y="479"/>
                    <a:pt x="900" y="474"/>
                  </a:cubicBezTo>
                  <a:close/>
                  <a:moveTo>
                    <a:pt x="563" y="477"/>
                  </a:moveTo>
                  <a:cubicBezTo>
                    <a:pt x="561" y="477"/>
                    <a:pt x="560" y="477"/>
                    <a:pt x="559" y="476"/>
                  </a:cubicBezTo>
                  <a:cubicBezTo>
                    <a:pt x="558" y="478"/>
                    <a:pt x="555" y="480"/>
                    <a:pt x="557" y="483"/>
                  </a:cubicBezTo>
                  <a:cubicBezTo>
                    <a:pt x="560" y="482"/>
                    <a:pt x="563" y="481"/>
                    <a:pt x="563" y="477"/>
                  </a:cubicBezTo>
                  <a:close/>
                  <a:moveTo>
                    <a:pt x="826" y="506"/>
                  </a:moveTo>
                  <a:cubicBezTo>
                    <a:pt x="828" y="507"/>
                    <a:pt x="832" y="508"/>
                    <a:pt x="834" y="506"/>
                  </a:cubicBezTo>
                  <a:cubicBezTo>
                    <a:pt x="834" y="501"/>
                    <a:pt x="825" y="499"/>
                    <a:pt x="826" y="506"/>
                  </a:cubicBezTo>
                  <a:close/>
                  <a:moveTo>
                    <a:pt x="830" y="510"/>
                  </a:moveTo>
                  <a:cubicBezTo>
                    <a:pt x="830" y="515"/>
                    <a:pt x="830" y="515"/>
                    <a:pt x="830" y="515"/>
                  </a:cubicBezTo>
                  <a:cubicBezTo>
                    <a:pt x="835" y="519"/>
                    <a:pt x="836" y="510"/>
                    <a:pt x="832" y="509"/>
                  </a:cubicBezTo>
                  <a:cubicBezTo>
                    <a:pt x="831" y="510"/>
                    <a:pt x="831" y="510"/>
                    <a:pt x="830" y="510"/>
                  </a:cubicBezTo>
                  <a:close/>
                  <a:moveTo>
                    <a:pt x="892" y="511"/>
                  </a:moveTo>
                  <a:cubicBezTo>
                    <a:pt x="895" y="513"/>
                    <a:pt x="895" y="518"/>
                    <a:pt x="899" y="515"/>
                  </a:cubicBezTo>
                  <a:cubicBezTo>
                    <a:pt x="900" y="511"/>
                    <a:pt x="893" y="507"/>
                    <a:pt x="892" y="511"/>
                  </a:cubicBezTo>
                  <a:close/>
                  <a:moveTo>
                    <a:pt x="922" y="511"/>
                  </a:moveTo>
                  <a:cubicBezTo>
                    <a:pt x="922" y="512"/>
                    <a:pt x="920" y="513"/>
                    <a:pt x="921" y="515"/>
                  </a:cubicBezTo>
                  <a:cubicBezTo>
                    <a:pt x="922" y="516"/>
                    <a:pt x="925" y="516"/>
                    <a:pt x="927" y="515"/>
                  </a:cubicBezTo>
                  <a:cubicBezTo>
                    <a:pt x="926" y="512"/>
                    <a:pt x="925" y="510"/>
                    <a:pt x="922" y="511"/>
                  </a:cubicBezTo>
                  <a:close/>
                  <a:moveTo>
                    <a:pt x="915" y="515"/>
                  </a:moveTo>
                  <a:cubicBezTo>
                    <a:pt x="912" y="514"/>
                    <a:pt x="911" y="515"/>
                    <a:pt x="911" y="518"/>
                  </a:cubicBezTo>
                  <a:cubicBezTo>
                    <a:pt x="915" y="518"/>
                    <a:pt x="915" y="518"/>
                    <a:pt x="915" y="518"/>
                  </a:cubicBezTo>
                  <a:lnTo>
                    <a:pt x="915" y="515"/>
                  </a:lnTo>
                  <a:close/>
                  <a:moveTo>
                    <a:pt x="890" y="517"/>
                  </a:moveTo>
                  <a:cubicBezTo>
                    <a:pt x="889" y="516"/>
                    <a:pt x="886" y="514"/>
                    <a:pt x="884" y="516"/>
                  </a:cubicBezTo>
                  <a:cubicBezTo>
                    <a:pt x="884" y="518"/>
                    <a:pt x="885" y="519"/>
                    <a:pt x="885" y="519"/>
                  </a:cubicBezTo>
                  <a:cubicBezTo>
                    <a:pt x="888" y="519"/>
                    <a:pt x="889" y="519"/>
                    <a:pt x="890" y="517"/>
                  </a:cubicBezTo>
                  <a:close/>
                  <a:moveTo>
                    <a:pt x="923" y="522"/>
                  </a:moveTo>
                  <a:cubicBezTo>
                    <a:pt x="925" y="522"/>
                    <a:pt x="927" y="522"/>
                    <a:pt x="927" y="519"/>
                  </a:cubicBezTo>
                  <a:cubicBezTo>
                    <a:pt x="924" y="519"/>
                    <a:pt x="923" y="520"/>
                    <a:pt x="923" y="522"/>
                  </a:cubicBezTo>
                  <a:close/>
                  <a:moveTo>
                    <a:pt x="908" y="527"/>
                  </a:moveTo>
                  <a:cubicBezTo>
                    <a:pt x="910" y="522"/>
                    <a:pt x="906" y="522"/>
                    <a:pt x="903" y="521"/>
                  </a:cubicBezTo>
                  <a:cubicBezTo>
                    <a:pt x="901" y="523"/>
                    <a:pt x="902" y="526"/>
                    <a:pt x="903" y="528"/>
                  </a:cubicBezTo>
                  <a:cubicBezTo>
                    <a:pt x="905" y="528"/>
                    <a:pt x="907" y="528"/>
                    <a:pt x="908" y="527"/>
                  </a:cubicBezTo>
                  <a:close/>
                  <a:moveTo>
                    <a:pt x="929" y="531"/>
                  </a:moveTo>
                  <a:cubicBezTo>
                    <a:pt x="933" y="531"/>
                    <a:pt x="936" y="529"/>
                    <a:pt x="936" y="524"/>
                  </a:cubicBezTo>
                  <a:cubicBezTo>
                    <a:pt x="931" y="524"/>
                    <a:pt x="928" y="525"/>
                    <a:pt x="929" y="531"/>
                  </a:cubicBezTo>
                  <a:close/>
                  <a:moveTo>
                    <a:pt x="916" y="534"/>
                  </a:moveTo>
                  <a:cubicBezTo>
                    <a:pt x="920" y="537"/>
                    <a:pt x="926" y="533"/>
                    <a:pt x="920" y="531"/>
                  </a:cubicBezTo>
                  <a:cubicBezTo>
                    <a:pt x="920" y="533"/>
                    <a:pt x="916" y="531"/>
                    <a:pt x="916" y="534"/>
                  </a:cubicBezTo>
                  <a:close/>
                  <a:moveTo>
                    <a:pt x="898" y="536"/>
                  </a:moveTo>
                  <a:cubicBezTo>
                    <a:pt x="898" y="535"/>
                    <a:pt x="898" y="535"/>
                    <a:pt x="899" y="535"/>
                  </a:cubicBezTo>
                  <a:cubicBezTo>
                    <a:pt x="899" y="533"/>
                    <a:pt x="899" y="533"/>
                    <a:pt x="899" y="533"/>
                  </a:cubicBezTo>
                  <a:cubicBezTo>
                    <a:pt x="898" y="533"/>
                    <a:pt x="898" y="533"/>
                    <a:pt x="898" y="532"/>
                  </a:cubicBezTo>
                  <a:cubicBezTo>
                    <a:pt x="896" y="532"/>
                    <a:pt x="896" y="532"/>
                    <a:pt x="896" y="532"/>
                  </a:cubicBezTo>
                  <a:cubicBezTo>
                    <a:pt x="896" y="532"/>
                    <a:pt x="896" y="533"/>
                    <a:pt x="895" y="533"/>
                  </a:cubicBezTo>
                  <a:cubicBezTo>
                    <a:pt x="895" y="535"/>
                    <a:pt x="895" y="535"/>
                    <a:pt x="895" y="535"/>
                  </a:cubicBezTo>
                  <a:cubicBezTo>
                    <a:pt x="896" y="535"/>
                    <a:pt x="896" y="535"/>
                    <a:pt x="896" y="536"/>
                  </a:cubicBezTo>
                  <a:lnTo>
                    <a:pt x="898" y="536"/>
                  </a:lnTo>
                  <a:close/>
                  <a:moveTo>
                    <a:pt x="948" y="535"/>
                  </a:moveTo>
                  <a:cubicBezTo>
                    <a:pt x="942" y="531"/>
                    <a:pt x="937" y="543"/>
                    <a:pt x="943" y="545"/>
                  </a:cubicBezTo>
                  <a:cubicBezTo>
                    <a:pt x="945" y="542"/>
                    <a:pt x="948" y="540"/>
                    <a:pt x="948" y="535"/>
                  </a:cubicBezTo>
                  <a:close/>
                  <a:moveTo>
                    <a:pt x="738" y="546"/>
                  </a:moveTo>
                  <a:cubicBezTo>
                    <a:pt x="742" y="530"/>
                    <a:pt x="721" y="544"/>
                    <a:pt x="738" y="546"/>
                  </a:cubicBezTo>
                  <a:close/>
                  <a:moveTo>
                    <a:pt x="871" y="540"/>
                  </a:moveTo>
                  <a:cubicBezTo>
                    <a:pt x="870" y="538"/>
                    <a:pt x="866" y="538"/>
                    <a:pt x="864" y="539"/>
                  </a:cubicBezTo>
                  <a:cubicBezTo>
                    <a:pt x="863" y="543"/>
                    <a:pt x="871" y="543"/>
                    <a:pt x="871" y="540"/>
                  </a:cubicBezTo>
                  <a:close/>
                  <a:moveTo>
                    <a:pt x="931" y="546"/>
                  </a:moveTo>
                  <a:cubicBezTo>
                    <a:pt x="931" y="549"/>
                    <a:pt x="928" y="555"/>
                    <a:pt x="933" y="555"/>
                  </a:cubicBezTo>
                  <a:cubicBezTo>
                    <a:pt x="937" y="554"/>
                    <a:pt x="935" y="546"/>
                    <a:pt x="931" y="546"/>
                  </a:cubicBezTo>
                  <a:close/>
                  <a:moveTo>
                    <a:pt x="1040" y="559"/>
                  </a:moveTo>
                  <a:cubicBezTo>
                    <a:pt x="1041" y="555"/>
                    <a:pt x="1041" y="550"/>
                    <a:pt x="1043" y="546"/>
                  </a:cubicBezTo>
                  <a:cubicBezTo>
                    <a:pt x="1033" y="551"/>
                    <a:pt x="1019" y="551"/>
                    <a:pt x="1011" y="557"/>
                  </a:cubicBezTo>
                  <a:cubicBezTo>
                    <a:pt x="1017" y="570"/>
                    <a:pt x="1029" y="563"/>
                    <a:pt x="1040" y="559"/>
                  </a:cubicBezTo>
                  <a:close/>
                  <a:moveTo>
                    <a:pt x="879" y="557"/>
                  </a:moveTo>
                  <a:cubicBezTo>
                    <a:pt x="888" y="556"/>
                    <a:pt x="895" y="564"/>
                    <a:pt x="901" y="564"/>
                  </a:cubicBezTo>
                  <a:cubicBezTo>
                    <a:pt x="907" y="565"/>
                    <a:pt x="915" y="562"/>
                    <a:pt x="921" y="560"/>
                  </a:cubicBezTo>
                  <a:cubicBezTo>
                    <a:pt x="921" y="557"/>
                    <a:pt x="921" y="557"/>
                    <a:pt x="921" y="557"/>
                  </a:cubicBezTo>
                  <a:cubicBezTo>
                    <a:pt x="909" y="556"/>
                    <a:pt x="890" y="552"/>
                    <a:pt x="880" y="550"/>
                  </a:cubicBezTo>
                  <a:cubicBezTo>
                    <a:pt x="877" y="551"/>
                    <a:pt x="878" y="554"/>
                    <a:pt x="879" y="557"/>
                  </a:cubicBezTo>
                  <a:close/>
                  <a:moveTo>
                    <a:pt x="1674" y="879"/>
                  </a:moveTo>
                  <a:cubicBezTo>
                    <a:pt x="1683" y="865"/>
                    <a:pt x="1681" y="833"/>
                    <a:pt x="1670" y="822"/>
                  </a:cubicBezTo>
                  <a:cubicBezTo>
                    <a:pt x="1671" y="839"/>
                    <a:pt x="1667" y="864"/>
                    <a:pt x="1674" y="879"/>
                  </a:cubicBezTo>
                  <a:close/>
                  <a:moveTo>
                    <a:pt x="1346" y="1324"/>
                  </a:moveTo>
                  <a:cubicBezTo>
                    <a:pt x="1340" y="1316"/>
                    <a:pt x="1334" y="1319"/>
                    <a:pt x="1330" y="1326"/>
                  </a:cubicBezTo>
                  <a:cubicBezTo>
                    <a:pt x="1326" y="1332"/>
                    <a:pt x="1326" y="1337"/>
                    <a:pt x="1319" y="1342"/>
                  </a:cubicBezTo>
                  <a:cubicBezTo>
                    <a:pt x="1316" y="1344"/>
                    <a:pt x="1314" y="1344"/>
                    <a:pt x="1311" y="1347"/>
                  </a:cubicBezTo>
                  <a:cubicBezTo>
                    <a:pt x="1310" y="1350"/>
                    <a:pt x="1310" y="1355"/>
                    <a:pt x="1307" y="1357"/>
                  </a:cubicBezTo>
                  <a:cubicBezTo>
                    <a:pt x="1299" y="1352"/>
                    <a:pt x="1299" y="1365"/>
                    <a:pt x="1294" y="1369"/>
                  </a:cubicBezTo>
                  <a:cubicBezTo>
                    <a:pt x="1293" y="1369"/>
                    <a:pt x="1294" y="1366"/>
                    <a:pt x="1290" y="1367"/>
                  </a:cubicBezTo>
                  <a:cubicBezTo>
                    <a:pt x="1290" y="1370"/>
                    <a:pt x="1289" y="1373"/>
                    <a:pt x="1288" y="1375"/>
                  </a:cubicBezTo>
                  <a:cubicBezTo>
                    <a:pt x="1274" y="1380"/>
                    <a:pt x="1261" y="1387"/>
                    <a:pt x="1246" y="1392"/>
                  </a:cubicBezTo>
                  <a:cubicBezTo>
                    <a:pt x="1245" y="1399"/>
                    <a:pt x="1239" y="1403"/>
                    <a:pt x="1234" y="1406"/>
                  </a:cubicBezTo>
                  <a:cubicBezTo>
                    <a:pt x="1229" y="1419"/>
                    <a:pt x="1234" y="1431"/>
                    <a:pt x="1228" y="1440"/>
                  </a:cubicBezTo>
                  <a:cubicBezTo>
                    <a:pt x="1222" y="1449"/>
                    <a:pt x="1206" y="1451"/>
                    <a:pt x="1200" y="1461"/>
                  </a:cubicBezTo>
                  <a:cubicBezTo>
                    <a:pt x="1196" y="1468"/>
                    <a:pt x="1195" y="1479"/>
                    <a:pt x="1200" y="1486"/>
                  </a:cubicBezTo>
                  <a:cubicBezTo>
                    <a:pt x="1199" y="1488"/>
                    <a:pt x="1197" y="1489"/>
                    <a:pt x="1196" y="1492"/>
                  </a:cubicBezTo>
                  <a:cubicBezTo>
                    <a:pt x="1210" y="1500"/>
                    <a:pt x="1225" y="1491"/>
                    <a:pt x="1237" y="1484"/>
                  </a:cubicBezTo>
                  <a:cubicBezTo>
                    <a:pt x="1249" y="1477"/>
                    <a:pt x="1252" y="1470"/>
                    <a:pt x="1258" y="1461"/>
                  </a:cubicBezTo>
                  <a:cubicBezTo>
                    <a:pt x="1266" y="1449"/>
                    <a:pt x="1279" y="1438"/>
                    <a:pt x="1290" y="1426"/>
                  </a:cubicBezTo>
                  <a:cubicBezTo>
                    <a:pt x="1303" y="1412"/>
                    <a:pt x="1321" y="1396"/>
                    <a:pt x="1320" y="1379"/>
                  </a:cubicBezTo>
                  <a:cubicBezTo>
                    <a:pt x="1329" y="1372"/>
                    <a:pt x="1331" y="1358"/>
                    <a:pt x="1346" y="1357"/>
                  </a:cubicBezTo>
                  <a:cubicBezTo>
                    <a:pt x="1347" y="1353"/>
                    <a:pt x="1345" y="1350"/>
                    <a:pt x="1343" y="1348"/>
                  </a:cubicBezTo>
                  <a:cubicBezTo>
                    <a:pt x="1345" y="1344"/>
                    <a:pt x="1348" y="1342"/>
                    <a:pt x="1349" y="1337"/>
                  </a:cubicBezTo>
                  <a:cubicBezTo>
                    <a:pt x="1346" y="1333"/>
                    <a:pt x="1345" y="1330"/>
                    <a:pt x="1346" y="1324"/>
                  </a:cubicBezTo>
                  <a:close/>
                  <a:moveTo>
                    <a:pt x="543" y="30"/>
                  </a:moveTo>
                  <a:cubicBezTo>
                    <a:pt x="549" y="31"/>
                    <a:pt x="558" y="29"/>
                    <a:pt x="561" y="24"/>
                  </a:cubicBezTo>
                  <a:cubicBezTo>
                    <a:pt x="559" y="23"/>
                    <a:pt x="555" y="25"/>
                    <a:pt x="555" y="23"/>
                  </a:cubicBezTo>
                  <a:cubicBezTo>
                    <a:pt x="557" y="20"/>
                    <a:pt x="562" y="20"/>
                    <a:pt x="565" y="18"/>
                  </a:cubicBezTo>
                  <a:cubicBezTo>
                    <a:pt x="566" y="22"/>
                    <a:pt x="567" y="23"/>
                    <a:pt x="567" y="25"/>
                  </a:cubicBezTo>
                  <a:cubicBezTo>
                    <a:pt x="591" y="20"/>
                    <a:pt x="609" y="13"/>
                    <a:pt x="635" y="14"/>
                  </a:cubicBezTo>
                  <a:cubicBezTo>
                    <a:pt x="628" y="14"/>
                    <a:pt x="628" y="14"/>
                    <a:pt x="628" y="14"/>
                  </a:cubicBezTo>
                  <a:cubicBezTo>
                    <a:pt x="619" y="24"/>
                    <a:pt x="601" y="16"/>
                    <a:pt x="593" y="22"/>
                  </a:cubicBezTo>
                  <a:cubicBezTo>
                    <a:pt x="592" y="24"/>
                    <a:pt x="595" y="25"/>
                    <a:pt x="593" y="26"/>
                  </a:cubicBezTo>
                  <a:cubicBezTo>
                    <a:pt x="591" y="26"/>
                    <a:pt x="590" y="24"/>
                    <a:pt x="589" y="23"/>
                  </a:cubicBezTo>
                  <a:cubicBezTo>
                    <a:pt x="584" y="25"/>
                    <a:pt x="579" y="26"/>
                    <a:pt x="576" y="31"/>
                  </a:cubicBezTo>
                  <a:cubicBezTo>
                    <a:pt x="580" y="32"/>
                    <a:pt x="584" y="29"/>
                    <a:pt x="586" y="34"/>
                  </a:cubicBezTo>
                  <a:cubicBezTo>
                    <a:pt x="573" y="46"/>
                    <a:pt x="553" y="51"/>
                    <a:pt x="537" y="59"/>
                  </a:cubicBezTo>
                  <a:cubicBezTo>
                    <a:pt x="541" y="61"/>
                    <a:pt x="545" y="57"/>
                    <a:pt x="546" y="59"/>
                  </a:cubicBezTo>
                  <a:cubicBezTo>
                    <a:pt x="542" y="61"/>
                    <a:pt x="540" y="65"/>
                    <a:pt x="534" y="66"/>
                  </a:cubicBezTo>
                  <a:cubicBezTo>
                    <a:pt x="534" y="62"/>
                    <a:pt x="534" y="62"/>
                    <a:pt x="534" y="62"/>
                  </a:cubicBezTo>
                  <a:cubicBezTo>
                    <a:pt x="528" y="61"/>
                    <a:pt x="525" y="67"/>
                    <a:pt x="527" y="71"/>
                  </a:cubicBezTo>
                  <a:cubicBezTo>
                    <a:pt x="521" y="74"/>
                    <a:pt x="515" y="77"/>
                    <a:pt x="508" y="79"/>
                  </a:cubicBezTo>
                  <a:cubicBezTo>
                    <a:pt x="508" y="77"/>
                    <a:pt x="510" y="77"/>
                    <a:pt x="507" y="77"/>
                  </a:cubicBezTo>
                  <a:cubicBezTo>
                    <a:pt x="503" y="77"/>
                    <a:pt x="503" y="80"/>
                    <a:pt x="499" y="81"/>
                  </a:cubicBezTo>
                  <a:cubicBezTo>
                    <a:pt x="479" y="84"/>
                    <a:pt x="469" y="99"/>
                    <a:pt x="452" y="107"/>
                  </a:cubicBezTo>
                  <a:cubicBezTo>
                    <a:pt x="456" y="107"/>
                    <a:pt x="458" y="102"/>
                    <a:pt x="461" y="106"/>
                  </a:cubicBezTo>
                  <a:cubicBezTo>
                    <a:pt x="441" y="111"/>
                    <a:pt x="429" y="123"/>
                    <a:pt x="419" y="138"/>
                  </a:cubicBezTo>
                  <a:cubicBezTo>
                    <a:pt x="422" y="140"/>
                    <a:pt x="423" y="138"/>
                    <a:pt x="426" y="137"/>
                  </a:cubicBezTo>
                  <a:cubicBezTo>
                    <a:pt x="423" y="141"/>
                    <a:pt x="417" y="144"/>
                    <a:pt x="418" y="149"/>
                  </a:cubicBezTo>
                  <a:cubicBezTo>
                    <a:pt x="438" y="144"/>
                    <a:pt x="451" y="129"/>
                    <a:pt x="469" y="123"/>
                  </a:cubicBezTo>
                  <a:cubicBezTo>
                    <a:pt x="476" y="120"/>
                    <a:pt x="483" y="118"/>
                    <a:pt x="490" y="114"/>
                  </a:cubicBezTo>
                  <a:cubicBezTo>
                    <a:pt x="490" y="112"/>
                    <a:pt x="492" y="111"/>
                    <a:pt x="494" y="110"/>
                  </a:cubicBezTo>
                  <a:cubicBezTo>
                    <a:pt x="515" y="109"/>
                    <a:pt x="539" y="103"/>
                    <a:pt x="564" y="92"/>
                  </a:cubicBezTo>
                  <a:cubicBezTo>
                    <a:pt x="562" y="94"/>
                    <a:pt x="564" y="93"/>
                    <a:pt x="565" y="95"/>
                  </a:cubicBezTo>
                  <a:cubicBezTo>
                    <a:pt x="585" y="94"/>
                    <a:pt x="601" y="89"/>
                    <a:pt x="619" y="85"/>
                  </a:cubicBezTo>
                  <a:cubicBezTo>
                    <a:pt x="618" y="82"/>
                    <a:pt x="614" y="82"/>
                    <a:pt x="612" y="80"/>
                  </a:cubicBezTo>
                  <a:cubicBezTo>
                    <a:pt x="616" y="79"/>
                    <a:pt x="616" y="74"/>
                    <a:pt x="622" y="75"/>
                  </a:cubicBezTo>
                  <a:cubicBezTo>
                    <a:pt x="622" y="77"/>
                    <a:pt x="619" y="77"/>
                    <a:pt x="618" y="80"/>
                  </a:cubicBezTo>
                  <a:cubicBezTo>
                    <a:pt x="627" y="89"/>
                    <a:pt x="641" y="68"/>
                    <a:pt x="631" y="63"/>
                  </a:cubicBezTo>
                  <a:cubicBezTo>
                    <a:pt x="634" y="62"/>
                    <a:pt x="637" y="64"/>
                    <a:pt x="641" y="62"/>
                  </a:cubicBezTo>
                  <a:cubicBezTo>
                    <a:pt x="643" y="63"/>
                    <a:pt x="642" y="67"/>
                    <a:pt x="645" y="67"/>
                  </a:cubicBezTo>
                  <a:cubicBezTo>
                    <a:pt x="648" y="62"/>
                    <a:pt x="652" y="64"/>
                    <a:pt x="659" y="63"/>
                  </a:cubicBezTo>
                  <a:cubicBezTo>
                    <a:pt x="660" y="56"/>
                    <a:pt x="669" y="62"/>
                    <a:pt x="672" y="57"/>
                  </a:cubicBezTo>
                  <a:cubicBezTo>
                    <a:pt x="671" y="56"/>
                    <a:pt x="669" y="56"/>
                    <a:pt x="669" y="54"/>
                  </a:cubicBezTo>
                  <a:cubicBezTo>
                    <a:pt x="672" y="51"/>
                    <a:pt x="673" y="53"/>
                    <a:pt x="676" y="54"/>
                  </a:cubicBezTo>
                  <a:cubicBezTo>
                    <a:pt x="678" y="52"/>
                    <a:pt x="679" y="51"/>
                    <a:pt x="681" y="50"/>
                  </a:cubicBezTo>
                  <a:cubicBezTo>
                    <a:pt x="682" y="46"/>
                    <a:pt x="678" y="47"/>
                    <a:pt x="679" y="44"/>
                  </a:cubicBezTo>
                  <a:cubicBezTo>
                    <a:pt x="687" y="44"/>
                    <a:pt x="691" y="46"/>
                    <a:pt x="696" y="43"/>
                  </a:cubicBezTo>
                  <a:cubicBezTo>
                    <a:pt x="698" y="40"/>
                    <a:pt x="693" y="43"/>
                    <a:pt x="693" y="40"/>
                  </a:cubicBezTo>
                  <a:cubicBezTo>
                    <a:pt x="704" y="32"/>
                    <a:pt x="724" y="28"/>
                    <a:pt x="740" y="25"/>
                  </a:cubicBezTo>
                  <a:cubicBezTo>
                    <a:pt x="736" y="19"/>
                    <a:pt x="724" y="24"/>
                    <a:pt x="718" y="23"/>
                  </a:cubicBezTo>
                  <a:cubicBezTo>
                    <a:pt x="718" y="19"/>
                    <a:pt x="724" y="21"/>
                    <a:pt x="725" y="18"/>
                  </a:cubicBezTo>
                  <a:cubicBezTo>
                    <a:pt x="713" y="13"/>
                    <a:pt x="688" y="10"/>
                    <a:pt x="674" y="16"/>
                  </a:cubicBezTo>
                  <a:cubicBezTo>
                    <a:pt x="674" y="13"/>
                    <a:pt x="674" y="13"/>
                    <a:pt x="674" y="13"/>
                  </a:cubicBezTo>
                  <a:cubicBezTo>
                    <a:pt x="666" y="16"/>
                    <a:pt x="660" y="11"/>
                    <a:pt x="653" y="12"/>
                  </a:cubicBezTo>
                  <a:cubicBezTo>
                    <a:pt x="653" y="10"/>
                    <a:pt x="655" y="10"/>
                    <a:pt x="656" y="9"/>
                  </a:cubicBezTo>
                  <a:cubicBezTo>
                    <a:pt x="645" y="5"/>
                    <a:pt x="629" y="0"/>
                    <a:pt x="616" y="7"/>
                  </a:cubicBezTo>
                  <a:cubicBezTo>
                    <a:pt x="617" y="7"/>
                    <a:pt x="619" y="6"/>
                    <a:pt x="619" y="8"/>
                  </a:cubicBezTo>
                  <a:cubicBezTo>
                    <a:pt x="613" y="8"/>
                    <a:pt x="615" y="9"/>
                    <a:pt x="611" y="11"/>
                  </a:cubicBezTo>
                  <a:cubicBezTo>
                    <a:pt x="608" y="7"/>
                    <a:pt x="615" y="6"/>
                    <a:pt x="618" y="4"/>
                  </a:cubicBezTo>
                  <a:cubicBezTo>
                    <a:pt x="604" y="5"/>
                    <a:pt x="594" y="9"/>
                    <a:pt x="584" y="13"/>
                  </a:cubicBezTo>
                  <a:cubicBezTo>
                    <a:pt x="585" y="14"/>
                    <a:pt x="585" y="15"/>
                    <a:pt x="585" y="16"/>
                  </a:cubicBezTo>
                  <a:cubicBezTo>
                    <a:pt x="582" y="18"/>
                    <a:pt x="575" y="13"/>
                    <a:pt x="576" y="17"/>
                  </a:cubicBezTo>
                  <a:cubicBezTo>
                    <a:pt x="572" y="17"/>
                    <a:pt x="570" y="19"/>
                    <a:pt x="566" y="18"/>
                  </a:cubicBezTo>
                  <a:cubicBezTo>
                    <a:pt x="566" y="16"/>
                    <a:pt x="570" y="16"/>
                    <a:pt x="570" y="14"/>
                  </a:cubicBezTo>
                  <a:cubicBezTo>
                    <a:pt x="563" y="14"/>
                    <a:pt x="559" y="22"/>
                    <a:pt x="553" y="20"/>
                  </a:cubicBezTo>
                  <a:cubicBezTo>
                    <a:pt x="554" y="20"/>
                    <a:pt x="554" y="19"/>
                    <a:pt x="553" y="18"/>
                  </a:cubicBezTo>
                  <a:cubicBezTo>
                    <a:pt x="558" y="18"/>
                    <a:pt x="560" y="16"/>
                    <a:pt x="565" y="15"/>
                  </a:cubicBezTo>
                  <a:cubicBezTo>
                    <a:pt x="561" y="11"/>
                    <a:pt x="571" y="11"/>
                    <a:pt x="570" y="8"/>
                  </a:cubicBezTo>
                  <a:cubicBezTo>
                    <a:pt x="563" y="10"/>
                    <a:pt x="556" y="12"/>
                    <a:pt x="550" y="15"/>
                  </a:cubicBezTo>
                  <a:cubicBezTo>
                    <a:pt x="553" y="17"/>
                    <a:pt x="554" y="14"/>
                    <a:pt x="556" y="16"/>
                  </a:cubicBezTo>
                  <a:cubicBezTo>
                    <a:pt x="552" y="17"/>
                    <a:pt x="550" y="19"/>
                    <a:pt x="550" y="20"/>
                  </a:cubicBezTo>
                  <a:cubicBezTo>
                    <a:pt x="547" y="18"/>
                    <a:pt x="548" y="22"/>
                    <a:pt x="545" y="23"/>
                  </a:cubicBezTo>
                  <a:cubicBezTo>
                    <a:pt x="549" y="23"/>
                    <a:pt x="541" y="26"/>
                    <a:pt x="543" y="30"/>
                  </a:cubicBezTo>
                  <a:close/>
                  <a:moveTo>
                    <a:pt x="595" y="5"/>
                  </a:moveTo>
                  <a:cubicBezTo>
                    <a:pt x="588" y="5"/>
                    <a:pt x="580" y="11"/>
                    <a:pt x="577" y="13"/>
                  </a:cubicBezTo>
                  <a:cubicBezTo>
                    <a:pt x="580" y="13"/>
                    <a:pt x="582" y="12"/>
                    <a:pt x="586" y="11"/>
                  </a:cubicBezTo>
                  <a:cubicBezTo>
                    <a:pt x="585" y="7"/>
                    <a:pt x="592" y="9"/>
                    <a:pt x="595" y="5"/>
                  </a:cubicBezTo>
                  <a:close/>
                  <a:moveTo>
                    <a:pt x="397" y="110"/>
                  </a:moveTo>
                  <a:cubicBezTo>
                    <a:pt x="404" y="109"/>
                    <a:pt x="408" y="99"/>
                    <a:pt x="414" y="99"/>
                  </a:cubicBezTo>
                  <a:cubicBezTo>
                    <a:pt x="414" y="102"/>
                    <a:pt x="410" y="102"/>
                    <a:pt x="409" y="105"/>
                  </a:cubicBezTo>
                  <a:cubicBezTo>
                    <a:pt x="428" y="100"/>
                    <a:pt x="438" y="84"/>
                    <a:pt x="454" y="80"/>
                  </a:cubicBezTo>
                  <a:cubicBezTo>
                    <a:pt x="451" y="85"/>
                    <a:pt x="443" y="87"/>
                    <a:pt x="439" y="92"/>
                  </a:cubicBezTo>
                  <a:cubicBezTo>
                    <a:pt x="448" y="87"/>
                    <a:pt x="457" y="87"/>
                    <a:pt x="467" y="82"/>
                  </a:cubicBezTo>
                  <a:cubicBezTo>
                    <a:pt x="467" y="78"/>
                    <a:pt x="467" y="78"/>
                    <a:pt x="467" y="78"/>
                  </a:cubicBezTo>
                  <a:cubicBezTo>
                    <a:pt x="469" y="76"/>
                    <a:pt x="472" y="75"/>
                    <a:pt x="474" y="74"/>
                  </a:cubicBezTo>
                  <a:cubicBezTo>
                    <a:pt x="478" y="62"/>
                    <a:pt x="492" y="66"/>
                    <a:pt x="499" y="59"/>
                  </a:cubicBezTo>
                  <a:cubicBezTo>
                    <a:pt x="499" y="58"/>
                    <a:pt x="498" y="59"/>
                    <a:pt x="498" y="58"/>
                  </a:cubicBezTo>
                  <a:cubicBezTo>
                    <a:pt x="504" y="58"/>
                    <a:pt x="509" y="55"/>
                    <a:pt x="507" y="51"/>
                  </a:cubicBezTo>
                  <a:cubicBezTo>
                    <a:pt x="510" y="52"/>
                    <a:pt x="517" y="49"/>
                    <a:pt x="513" y="46"/>
                  </a:cubicBezTo>
                  <a:cubicBezTo>
                    <a:pt x="518" y="44"/>
                    <a:pt x="525" y="44"/>
                    <a:pt x="526" y="38"/>
                  </a:cubicBezTo>
                  <a:cubicBezTo>
                    <a:pt x="530" y="40"/>
                    <a:pt x="536" y="38"/>
                    <a:pt x="536" y="34"/>
                  </a:cubicBezTo>
                  <a:cubicBezTo>
                    <a:pt x="532" y="32"/>
                    <a:pt x="532" y="33"/>
                    <a:pt x="535" y="30"/>
                  </a:cubicBezTo>
                  <a:cubicBezTo>
                    <a:pt x="505" y="33"/>
                    <a:pt x="487" y="53"/>
                    <a:pt x="461" y="57"/>
                  </a:cubicBezTo>
                  <a:cubicBezTo>
                    <a:pt x="484" y="51"/>
                    <a:pt x="499" y="35"/>
                    <a:pt x="520" y="31"/>
                  </a:cubicBezTo>
                  <a:cubicBezTo>
                    <a:pt x="523" y="30"/>
                    <a:pt x="536" y="31"/>
                    <a:pt x="540" y="24"/>
                  </a:cubicBezTo>
                  <a:cubicBezTo>
                    <a:pt x="538" y="23"/>
                    <a:pt x="537" y="27"/>
                    <a:pt x="536" y="24"/>
                  </a:cubicBezTo>
                  <a:cubicBezTo>
                    <a:pt x="538" y="24"/>
                    <a:pt x="540" y="24"/>
                    <a:pt x="540" y="21"/>
                  </a:cubicBezTo>
                  <a:cubicBezTo>
                    <a:pt x="536" y="21"/>
                    <a:pt x="537" y="21"/>
                    <a:pt x="531" y="21"/>
                  </a:cubicBezTo>
                  <a:cubicBezTo>
                    <a:pt x="531" y="23"/>
                    <a:pt x="531" y="23"/>
                    <a:pt x="530" y="24"/>
                  </a:cubicBezTo>
                  <a:cubicBezTo>
                    <a:pt x="520" y="31"/>
                    <a:pt x="502" y="35"/>
                    <a:pt x="492" y="39"/>
                  </a:cubicBezTo>
                  <a:cubicBezTo>
                    <a:pt x="509" y="31"/>
                    <a:pt x="495" y="38"/>
                    <a:pt x="485" y="41"/>
                  </a:cubicBezTo>
                  <a:cubicBezTo>
                    <a:pt x="483" y="43"/>
                    <a:pt x="484" y="44"/>
                    <a:pt x="483" y="45"/>
                  </a:cubicBezTo>
                  <a:cubicBezTo>
                    <a:pt x="481" y="45"/>
                    <a:pt x="479" y="45"/>
                    <a:pt x="478" y="47"/>
                  </a:cubicBezTo>
                  <a:cubicBezTo>
                    <a:pt x="459" y="52"/>
                    <a:pt x="439" y="65"/>
                    <a:pt x="422" y="75"/>
                  </a:cubicBezTo>
                  <a:cubicBezTo>
                    <a:pt x="423" y="75"/>
                    <a:pt x="424" y="75"/>
                    <a:pt x="425" y="76"/>
                  </a:cubicBezTo>
                  <a:cubicBezTo>
                    <a:pt x="421" y="77"/>
                    <a:pt x="420" y="77"/>
                    <a:pt x="420" y="75"/>
                  </a:cubicBezTo>
                  <a:cubicBezTo>
                    <a:pt x="422" y="78"/>
                    <a:pt x="410" y="83"/>
                    <a:pt x="412" y="83"/>
                  </a:cubicBezTo>
                  <a:cubicBezTo>
                    <a:pt x="414" y="83"/>
                    <a:pt x="415" y="81"/>
                    <a:pt x="415" y="83"/>
                  </a:cubicBezTo>
                  <a:cubicBezTo>
                    <a:pt x="413" y="84"/>
                    <a:pt x="411" y="85"/>
                    <a:pt x="409" y="87"/>
                  </a:cubicBezTo>
                  <a:cubicBezTo>
                    <a:pt x="411" y="87"/>
                    <a:pt x="411" y="89"/>
                    <a:pt x="412" y="89"/>
                  </a:cubicBezTo>
                  <a:cubicBezTo>
                    <a:pt x="411" y="83"/>
                    <a:pt x="438" y="72"/>
                    <a:pt x="445" y="66"/>
                  </a:cubicBezTo>
                  <a:cubicBezTo>
                    <a:pt x="445" y="67"/>
                    <a:pt x="445" y="68"/>
                    <a:pt x="446" y="68"/>
                  </a:cubicBezTo>
                  <a:cubicBezTo>
                    <a:pt x="461" y="62"/>
                    <a:pt x="476" y="54"/>
                    <a:pt x="492" y="49"/>
                  </a:cubicBezTo>
                  <a:cubicBezTo>
                    <a:pt x="489" y="52"/>
                    <a:pt x="491" y="51"/>
                    <a:pt x="493" y="52"/>
                  </a:cubicBezTo>
                  <a:cubicBezTo>
                    <a:pt x="489" y="56"/>
                    <a:pt x="481" y="56"/>
                    <a:pt x="481" y="57"/>
                  </a:cubicBezTo>
                  <a:cubicBezTo>
                    <a:pt x="481" y="60"/>
                    <a:pt x="484" y="54"/>
                    <a:pt x="484" y="58"/>
                  </a:cubicBezTo>
                  <a:cubicBezTo>
                    <a:pt x="474" y="60"/>
                    <a:pt x="475" y="66"/>
                    <a:pt x="467" y="64"/>
                  </a:cubicBezTo>
                  <a:cubicBezTo>
                    <a:pt x="468" y="64"/>
                    <a:pt x="469" y="64"/>
                    <a:pt x="470" y="62"/>
                  </a:cubicBezTo>
                  <a:cubicBezTo>
                    <a:pt x="465" y="63"/>
                    <a:pt x="461" y="63"/>
                    <a:pt x="459" y="67"/>
                  </a:cubicBezTo>
                  <a:cubicBezTo>
                    <a:pt x="462" y="67"/>
                    <a:pt x="466" y="64"/>
                    <a:pt x="468" y="67"/>
                  </a:cubicBezTo>
                  <a:cubicBezTo>
                    <a:pt x="457" y="71"/>
                    <a:pt x="446" y="75"/>
                    <a:pt x="436" y="80"/>
                  </a:cubicBezTo>
                  <a:cubicBezTo>
                    <a:pt x="435" y="79"/>
                    <a:pt x="435" y="79"/>
                    <a:pt x="435" y="78"/>
                  </a:cubicBezTo>
                  <a:cubicBezTo>
                    <a:pt x="430" y="79"/>
                    <a:pt x="424" y="81"/>
                    <a:pt x="421" y="84"/>
                  </a:cubicBezTo>
                  <a:cubicBezTo>
                    <a:pt x="424" y="85"/>
                    <a:pt x="425" y="84"/>
                    <a:pt x="426" y="85"/>
                  </a:cubicBezTo>
                  <a:cubicBezTo>
                    <a:pt x="420" y="91"/>
                    <a:pt x="401" y="99"/>
                    <a:pt x="403" y="103"/>
                  </a:cubicBezTo>
                  <a:cubicBezTo>
                    <a:pt x="399" y="103"/>
                    <a:pt x="400" y="108"/>
                    <a:pt x="397" y="110"/>
                  </a:cubicBezTo>
                  <a:close/>
                  <a:moveTo>
                    <a:pt x="1664" y="783"/>
                  </a:moveTo>
                  <a:cubicBezTo>
                    <a:pt x="1662" y="757"/>
                    <a:pt x="1654" y="739"/>
                    <a:pt x="1657" y="715"/>
                  </a:cubicBezTo>
                  <a:cubicBezTo>
                    <a:pt x="1657" y="713"/>
                    <a:pt x="1660" y="711"/>
                    <a:pt x="1660" y="709"/>
                  </a:cubicBezTo>
                  <a:cubicBezTo>
                    <a:pt x="1661" y="704"/>
                    <a:pt x="1658" y="695"/>
                    <a:pt x="1659" y="688"/>
                  </a:cubicBezTo>
                  <a:cubicBezTo>
                    <a:pt x="1663" y="662"/>
                    <a:pt x="1657" y="631"/>
                    <a:pt x="1654" y="604"/>
                  </a:cubicBezTo>
                  <a:cubicBezTo>
                    <a:pt x="1657" y="604"/>
                    <a:pt x="1656" y="608"/>
                    <a:pt x="1658" y="609"/>
                  </a:cubicBezTo>
                  <a:cubicBezTo>
                    <a:pt x="1657" y="596"/>
                    <a:pt x="1656" y="594"/>
                    <a:pt x="1660" y="586"/>
                  </a:cubicBezTo>
                  <a:cubicBezTo>
                    <a:pt x="1665" y="605"/>
                    <a:pt x="1677" y="623"/>
                    <a:pt x="1681" y="642"/>
                  </a:cubicBezTo>
                  <a:cubicBezTo>
                    <a:pt x="1653" y="494"/>
                    <a:pt x="1586" y="373"/>
                    <a:pt x="1504" y="271"/>
                  </a:cubicBezTo>
                  <a:cubicBezTo>
                    <a:pt x="1433" y="183"/>
                    <a:pt x="1339" y="108"/>
                    <a:pt x="1233" y="55"/>
                  </a:cubicBezTo>
                  <a:cubicBezTo>
                    <a:pt x="1211" y="44"/>
                    <a:pt x="1193" y="32"/>
                    <a:pt x="1170" y="30"/>
                  </a:cubicBezTo>
                  <a:cubicBezTo>
                    <a:pt x="1169" y="38"/>
                    <a:pt x="1191" y="35"/>
                    <a:pt x="1181" y="42"/>
                  </a:cubicBezTo>
                  <a:cubicBezTo>
                    <a:pt x="1185" y="42"/>
                    <a:pt x="1187" y="44"/>
                    <a:pt x="1190" y="46"/>
                  </a:cubicBezTo>
                  <a:cubicBezTo>
                    <a:pt x="1176" y="44"/>
                    <a:pt x="1163" y="34"/>
                    <a:pt x="1149" y="38"/>
                  </a:cubicBezTo>
                  <a:cubicBezTo>
                    <a:pt x="1153" y="40"/>
                    <a:pt x="1156" y="40"/>
                    <a:pt x="1159" y="42"/>
                  </a:cubicBezTo>
                  <a:cubicBezTo>
                    <a:pt x="1149" y="43"/>
                    <a:pt x="1137" y="42"/>
                    <a:pt x="1133" y="43"/>
                  </a:cubicBezTo>
                  <a:cubicBezTo>
                    <a:pt x="1134" y="43"/>
                    <a:pt x="1134" y="43"/>
                    <a:pt x="1134" y="44"/>
                  </a:cubicBezTo>
                  <a:cubicBezTo>
                    <a:pt x="1129" y="45"/>
                    <a:pt x="1128" y="38"/>
                    <a:pt x="1123" y="41"/>
                  </a:cubicBezTo>
                  <a:cubicBezTo>
                    <a:pt x="1128" y="43"/>
                    <a:pt x="1130" y="44"/>
                    <a:pt x="1134" y="48"/>
                  </a:cubicBezTo>
                  <a:cubicBezTo>
                    <a:pt x="1134" y="49"/>
                    <a:pt x="1133" y="50"/>
                    <a:pt x="1132" y="51"/>
                  </a:cubicBezTo>
                  <a:cubicBezTo>
                    <a:pt x="1122" y="41"/>
                    <a:pt x="1110" y="28"/>
                    <a:pt x="1092" y="32"/>
                  </a:cubicBezTo>
                  <a:cubicBezTo>
                    <a:pt x="1084" y="33"/>
                    <a:pt x="1075" y="30"/>
                    <a:pt x="1069" y="33"/>
                  </a:cubicBezTo>
                  <a:cubicBezTo>
                    <a:pt x="1071" y="34"/>
                    <a:pt x="1075" y="34"/>
                    <a:pt x="1077" y="36"/>
                  </a:cubicBezTo>
                  <a:cubicBezTo>
                    <a:pt x="1073" y="36"/>
                    <a:pt x="1080" y="39"/>
                    <a:pt x="1076" y="41"/>
                  </a:cubicBezTo>
                  <a:cubicBezTo>
                    <a:pt x="1073" y="41"/>
                    <a:pt x="1073" y="39"/>
                    <a:pt x="1069" y="39"/>
                  </a:cubicBezTo>
                  <a:cubicBezTo>
                    <a:pt x="1069" y="44"/>
                    <a:pt x="1063" y="43"/>
                    <a:pt x="1064" y="47"/>
                  </a:cubicBezTo>
                  <a:cubicBezTo>
                    <a:pt x="1065" y="53"/>
                    <a:pt x="1072" y="50"/>
                    <a:pt x="1074" y="57"/>
                  </a:cubicBezTo>
                  <a:cubicBezTo>
                    <a:pt x="1068" y="57"/>
                    <a:pt x="1065" y="56"/>
                    <a:pt x="1062" y="59"/>
                  </a:cubicBezTo>
                  <a:cubicBezTo>
                    <a:pt x="1067" y="66"/>
                    <a:pt x="1081" y="64"/>
                    <a:pt x="1088" y="69"/>
                  </a:cubicBezTo>
                  <a:cubicBezTo>
                    <a:pt x="1080" y="69"/>
                    <a:pt x="1076" y="66"/>
                    <a:pt x="1068" y="66"/>
                  </a:cubicBezTo>
                  <a:cubicBezTo>
                    <a:pt x="1070" y="70"/>
                    <a:pt x="1066" y="68"/>
                    <a:pt x="1065" y="70"/>
                  </a:cubicBezTo>
                  <a:cubicBezTo>
                    <a:pt x="1066" y="72"/>
                    <a:pt x="1072" y="73"/>
                    <a:pt x="1070" y="74"/>
                  </a:cubicBezTo>
                  <a:cubicBezTo>
                    <a:pt x="1063" y="73"/>
                    <a:pt x="1059" y="64"/>
                    <a:pt x="1052" y="66"/>
                  </a:cubicBezTo>
                  <a:cubicBezTo>
                    <a:pt x="1056" y="67"/>
                    <a:pt x="1057" y="70"/>
                    <a:pt x="1058" y="74"/>
                  </a:cubicBezTo>
                  <a:cubicBezTo>
                    <a:pt x="1073" y="77"/>
                    <a:pt x="1082" y="94"/>
                    <a:pt x="1098" y="88"/>
                  </a:cubicBezTo>
                  <a:cubicBezTo>
                    <a:pt x="1098" y="91"/>
                    <a:pt x="1095" y="90"/>
                    <a:pt x="1096" y="93"/>
                  </a:cubicBezTo>
                  <a:cubicBezTo>
                    <a:pt x="1104" y="97"/>
                    <a:pt x="1113" y="103"/>
                    <a:pt x="1113" y="112"/>
                  </a:cubicBezTo>
                  <a:cubicBezTo>
                    <a:pt x="1108" y="111"/>
                    <a:pt x="1100" y="114"/>
                    <a:pt x="1098" y="110"/>
                  </a:cubicBezTo>
                  <a:cubicBezTo>
                    <a:pt x="1101" y="110"/>
                    <a:pt x="1103" y="108"/>
                    <a:pt x="1105" y="107"/>
                  </a:cubicBezTo>
                  <a:cubicBezTo>
                    <a:pt x="1101" y="101"/>
                    <a:pt x="1099" y="93"/>
                    <a:pt x="1087" y="94"/>
                  </a:cubicBezTo>
                  <a:cubicBezTo>
                    <a:pt x="1083" y="92"/>
                    <a:pt x="1081" y="89"/>
                    <a:pt x="1077" y="86"/>
                  </a:cubicBezTo>
                  <a:cubicBezTo>
                    <a:pt x="1071" y="83"/>
                    <a:pt x="1063" y="81"/>
                    <a:pt x="1057" y="77"/>
                  </a:cubicBezTo>
                  <a:cubicBezTo>
                    <a:pt x="1050" y="72"/>
                    <a:pt x="1045" y="64"/>
                    <a:pt x="1031" y="66"/>
                  </a:cubicBezTo>
                  <a:cubicBezTo>
                    <a:pt x="1031" y="71"/>
                    <a:pt x="1040" y="73"/>
                    <a:pt x="1038" y="81"/>
                  </a:cubicBezTo>
                  <a:cubicBezTo>
                    <a:pt x="1046" y="82"/>
                    <a:pt x="1050" y="87"/>
                    <a:pt x="1055" y="91"/>
                  </a:cubicBezTo>
                  <a:cubicBezTo>
                    <a:pt x="1061" y="91"/>
                    <a:pt x="1070" y="92"/>
                    <a:pt x="1073" y="98"/>
                  </a:cubicBezTo>
                  <a:cubicBezTo>
                    <a:pt x="1055" y="95"/>
                    <a:pt x="1045" y="90"/>
                    <a:pt x="1026" y="91"/>
                  </a:cubicBezTo>
                  <a:cubicBezTo>
                    <a:pt x="1025" y="96"/>
                    <a:pt x="1033" y="94"/>
                    <a:pt x="1033" y="99"/>
                  </a:cubicBezTo>
                  <a:cubicBezTo>
                    <a:pt x="1030" y="99"/>
                    <a:pt x="1036" y="102"/>
                    <a:pt x="1032" y="102"/>
                  </a:cubicBezTo>
                  <a:cubicBezTo>
                    <a:pt x="1028" y="102"/>
                    <a:pt x="1030" y="96"/>
                    <a:pt x="1025" y="97"/>
                  </a:cubicBezTo>
                  <a:cubicBezTo>
                    <a:pt x="1022" y="104"/>
                    <a:pt x="1011" y="98"/>
                    <a:pt x="1008" y="106"/>
                  </a:cubicBezTo>
                  <a:cubicBezTo>
                    <a:pt x="1001" y="107"/>
                    <a:pt x="1004" y="99"/>
                    <a:pt x="999" y="99"/>
                  </a:cubicBezTo>
                  <a:cubicBezTo>
                    <a:pt x="994" y="105"/>
                    <a:pt x="978" y="105"/>
                    <a:pt x="979" y="117"/>
                  </a:cubicBezTo>
                  <a:cubicBezTo>
                    <a:pt x="974" y="119"/>
                    <a:pt x="964" y="118"/>
                    <a:pt x="964" y="111"/>
                  </a:cubicBezTo>
                  <a:cubicBezTo>
                    <a:pt x="971" y="111"/>
                    <a:pt x="971" y="111"/>
                    <a:pt x="971" y="111"/>
                  </a:cubicBezTo>
                  <a:cubicBezTo>
                    <a:pt x="968" y="105"/>
                    <a:pt x="960" y="104"/>
                    <a:pt x="950" y="105"/>
                  </a:cubicBezTo>
                  <a:cubicBezTo>
                    <a:pt x="953" y="108"/>
                    <a:pt x="958" y="109"/>
                    <a:pt x="956" y="116"/>
                  </a:cubicBezTo>
                  <a:cubicBezTo>
                    <a:pt x="959" y="119"/>
                    <a:pt x="967" y="118"/>
                    <a:pt x="966" y="125"/>
                  </a:cubicBezTo>
                  <a:cubicBezTo>
                    <a:pt x="961" y="127"/>
                    <a:pt x="959" y="121"/>
                    <a:pt x="953" y="122"/>
                  </a:cubicBezTo>
                  <a:cubicBezTo>
                    <a:pt x="951" y="127"/>
                    <a:pt x="945" y="128"/>
                    <a:pt x="943" y="133"/>
                  </a:cubicBezTo>
                  <a:cubicBezTo>
                    <a:pt x="945" y="136"/>
                    <a:pt x="951" y="136"/>
                    <a:pt x="952" y="141"/>
                  </a:cubicBezTo>
                  <a:cubicBezTo>
                    <a:pt x="942" y="142"/>
                    <a:pt x="937" y="138"/>
                    <a:pt x="930" y="135"/>
                  </a:cubicBezTo>
                  <a:cubicBezTo>
                    <a:pt x="929" y="136"/>
                    <a:pt x="928" y="138"/>
                    <a:pt x="926" y="138"/>
                  </a:cubicBezTo>
                  <a:cubicBezTo>
                    <a:pt x="927" y="144"/>
                    <a:pt x="935" y="143"/>
                    <a:pt x="939" y="146"/>
                  </a:cubicBezTo>
                  <a:cubicBezTo>
                    <a:pt x="932" y="152"/>
                    <a:pt x="927" y="141"/>
                    <a:pt x="917" y="144"/>
                  </a:cubicBezTo>
                  <a:cubicBezTo>
                    <a:pt x="916" y="138"/>
                    <a:pt x="912" y="137"/>
                    <a:pt x="914" y="131"/>
                  </a:cubicBezTo>
                  <a:cubicBezTo>
                    <a:pt x="908" y="127"/>
                    <a:pt x="897" y="126"/>
                    <a:pt x="894" y="119"/>
                  </a:cubicBezTo>
                  <a:cubicBezTo>
                    <a:pt x="908" y="124"/>
                    <a:pt x="935" y="135"/>
                    <a:pt x="948" y="122"/>
                  </a:cubicBezTo>
                  <a:cubicBezTo>
                    <a:pt x="937" y="105"/>
                    <a:pt x="911" y="105"/>
                    <a:pt x="888" y="100"/>
                  </a:cubicBezTo>
                  <a:cubicBezTo>
                    <a:pt x="888" y="98"/>
                    <a:pt x="889" y="98"/>
                    <a:pt x="889" y="96"/>
                  </a:cubicBezTo>
                  <a:cubicBezTo>
                    <a:pt x="886" y="97"/>
                    <a:pt x="885" y="94"/>
                    <a:pt x="882" y="95"/>
                  </a:cubicBezTo>
                  <a:cubicBezTo>
                    <a:pt x="882" y="98"/>
                    <a:pt x="874" y="99"/>
                    <a:pt x="872" y="97"/>
                  </a:cubicBezTo>
                  <a:cubicBezTo>
                    <a:pt x="873" y="95"/>
                    <a:pt x="876" y="96"/>
                    <a:pt x="877" y="93"/>
                  </a:cubicBezTo>
                  <a:cubicBezTo>
                    <a:pt x="874" y="91"/>
                    <a:pt x="870" y="90"/>
                    <a:pt x="866" y="89"/>
                  </a:cubicBezTo>
                  <a:cubicBezTo>
                    <a:pt x="864" y="89"/>
                    <a:pt x="865" y="93"/>
                    <a:pt x="862" y="93"/>
                  </a:cubicBezTo>
                  <a:cubicBezTo>
                    <a:pt x="864" y="90"/>
                    <a:pt x="862" y="88"/>
                    <a:pt x="858" y="87"/>
                  </a:cubicBezTo>
                  <a:cubicBezTo>
                    <a:pt x="855" y="88"/>
                    <a:pt x="858" y="94"/>
                    <a:pt x="854" y="93"/>
                  </a:cubicBezTo>
                  <a:cubicBezTo>
                    <a:pt x="852" y="93"/>
                    <a:pt x="853" y="90"/>
                    <a:pt x="852" y="90"/>
                  </a:cubicBezTo>
                  <a:cubicBezTo>
                    <a:pt x="851" y="92"/>
                    <a:pt x="848" y="96"/>
                    <a:pt x="847" y="94"/>
                  </a:cubicBezTo>
                  <a:cubicBezTo>
                    <a:pt x="847" y="91"/>
                    <a:pt x="851" y="91"/>
                    <a:pt x="851" y="87"/>
                  </a:cubicBezTo>
                  <a:cubicBezTo>
                    <a:pt x="844" y="88"/>
                    <a:pt x="840" y="91"/>
                    <a:pt x="836" y="94"/>
                  </a:cubicBezTo>
                  <a:cubicBezTo>
                    <a:pt x="828" y="94"/>
                    <a:pt x="826" y="96"/>
                    <a:pt x="821" y="100"/>
                  </a:cubicBezTo>
                  <a:cubicBezTo>
                    <a:pt x="820" y="100"/>
                    <a:pt x="820" y="98"/>
                    <a:pt x="820" y="97"/>
                  </a:cubicBezTo>
                  <a:cubicBezTo>
                    <a:pt x="816" y="96"/>
                    <a:pt x="816" y="100"/>
                    <a:pt x="813" y="101"/>
                  </a:cubicBezTo>
                  <a:cubicBezTo>
                    <a:pt x="814" y="98"/>
                    <a:pt x="816" y="97"/>
                    <a:pt x="812" y="95"/>
                  </a:cubicBezTo>
                  <a:cubicBezTo>
                    <a:pt x="808" y="104"/>
                    <a:pt x="800" y="109"/>
                    <a:pt x="790" y="111"/>
                  </a:cubicBezTo>
                  <a:cubicBezTo>
                    <a:pt x="789" y="114"/>
                    <a:pt x="793" y="115"/>
                    <a:pt x="790" y="115"/>
                  </a:cubicBezTo>
                  <a:cubicBezTo>
                    <a:pt x="779" y="120"/>
                    <a:pt x="771" y="128"/>
                    <a:pt x="766" y="139"/>
                  </a:cubicBezTo>
                  <a:cubicBezTo>
                    <a:pt x="759" y="142"/>
                    <a:pt x="752" y="144"/>
                    <a:pt x="747" y="150"/>
                  </a:cubicBezTo>
                  <a:cubicBezTo>
                    <a:pt x="735" y="145"/>
                    <a:pt x="734" y="160"/>
                    <a:pt x="722" y="159"/>
                  </a:cubicBezTo>
                  <a:cubicBezTo>
                    <a:pt x="721" y="162"/>
                    <a:pt x="726" y="162"/>
                    <a:pt x="723" y="163"/>
                  </a:cubicBezTo>
                  <a:cubicBezTo>
                    <a:pt x="715" y="161"/>
                    <a:pt x="709" y="166"/>
                    <a:pt x="708" y="174"/>
                  </a:cubicBezTo>
                  <a:cubicBezTo>
                    <a:pt x="708" y="176"/>
                    <a:pt x="713" y="173"/>
                    <a:pt x="714" y="176"/>
                  </a:cubicBezTo>
                  <a:cubicBezTo>
                    <a:pt x="705" y="176"/>
                    <a:pt x="705" y="176"/>
                    <a:pt x="705" y="176"/>
                  </a:cubicBezTo>
                  <a:cubicBezTo>
                    <a:pt x="707" y="179"/>
                    <a:pt x="704" y="183"/>
                    <a:pt x="706" y="186"/>
                  </a:cubicBezTo>
                  <a:cubicBezTo>
                    <a:pt x="704" y="189"/>
                    <a:pt x="700" y="189"/>
                    <a:pt x="699" y="193"/>
                  </a:cubicBezTo>
                  <a:cubicBezTo>
                    <a:pt x="702" y="193"/>
                    <a:pt x="705" y="193"/>
                    <a:pt x="705" y="196"/>
                  </a:cubicBezTo>
                  <a:cubicBezTo>
                    <a:pt x="705" y="199"/>
                    <a:pt x="698" y="196"/>
                    <a:pt x="698" y="200"/>
                  </a:cubicBezTo>
                  <a:cubicBezTo>
                    <a:pt x="707" y="222"/>
                    <a:pt x="728" y="200"/>
                    <a:pt x="741" y="196"/>
                  </a:cubicBezTo>
                  <a:cubicBezTo>
                    <a:pt x="749" y="204"/>
                    <a:pt x="742" y="220"/>
                    <a:pt x="752" y="229"/>
                  </a:cubicBezTo>
                  <a:cubicBezTo>
                    <a:pt x="747" y="233"/>
                    <a:pt x="752" y="236"/>
                    <a:pt x="751" y="243"/>
                  </a:cubicBezTo>
                  <a:cubicBezTo>
                    <a:pt x="754" y="244"/>
                    <a:pt x="759" y="244"/>
                    <a:pt x="763" y="244"/>
                  </a:cubicBezTo>
                  <a:cubicBezTo>
                    <a:pt x="765" y="235"/>
                    <a:pt x="771" y="232"/>
                    <a:pt x="781" y="235"/>
                  </a:cubicBezTo>
                  <a:cubicBezTo>
                    <a:pt x="785" y="227"/>
                    <a:pt x="791" y="216"/>
                    <a:pt x="790" y="206"/>
                  </a:cubicBezTo>
                  <a:cubicBezTo>
                    <a:pt x="799" y="203"/>
                    <a:pt x="805" y="201"/>
                    <a:pt x="810" y="192"/>
                  </a:cubicBezTo>
                  <a:cubicBezTo>
                    <a:pt x="807" y="187"/>
                    <a:pt x="804" y="183"/>
                    <a:pt x="797" y="182"/>
                  </a:cubicBezTo>
                  <a:cubicBezTo>
                    <a:pt x="794" y="175"/>
                    <a:pt x="798" y="173"/>
                    <a:pt x="800" y="170"/>
                  </a:cubicBezTo>
                  <a:cubicBezTo>
                    <a:pt x="802" y="166"/>
                    <a:pt x="800" y="162"/>
                    <a:pt x="803" y="159"/>
                  </a:cubicBezTo>
                  <a:cubicBezTo>
                    <a:pt x="807" y="155"/>
                    <a:pt x="816" y="157"/>
                    <a:pt x="822" y="153"/>
                  </a:cubicBezTo>
                  <a:cubicBezTo>
                    <a:pt x="828" y="148"/>
                    <a:pt x="827" y="141"/>
                    <a:pt x="830" y="133"/>
                  </a:cubicBezTo>
                  <a:cubicBezTo>
                    <a:pt x="838" y="131"/>
                    <a:pt x="850" y="130"/>
                    <a:pt x="852" y="138"/>
                  </a:cubicBezTo>
                  <a:cubicBezTo>
                    <a:pt x="844" y="146"/>
                    <a:pt x="835" y="152"/>
                    <a:pt x="827" y="158"/>
                  </a:cubicBezTo>
                  <a:cubicBezTo>
                    <a:pt x="825" y="167"/>
                    <a:pt x="830" y="173"/>
                    <a:pt x="828" y="182"/>
                  </a:cubicBezTo>
                  <a:cubicBezTo>
                    <a:pt x="841" y="199"/>
                    <a:pt x="865" y="184"/>
                    <a:pt x="883" y="183"/>
                  </a:cubicBezTo>
                  <a:cubicBezTo>
                    <a:pt x="886" y="185"/>
                    <a:pt x="888" y="187"/>
                    <a:pt x="891" y="189"/>
                  </a:cubicBezTo>
                  <a:cubicBezTo>
                    <a:pt x="889" y="192"/>
                    <a:pt x="883" y="192"/>
                    <a:pt x="882" y="196"/>
                  </a:cubicBezTo>
                  <a:cubicBezTo>
                    <a:pt x="869" y="188"/>
                    <a:pt x="830" y="199"/>
                    <a:pt x="854" y="209"/>
                  </a:cubicBezTo>
                  <a:cubicBezTo>
                    <a:pt x="852" y="215"/>
                    <a:pt x="855" y="217"/>
                    <a:pt x="855" y="224"/>
                  </a:cubicBezTo>
                  <a:cubicBezTo>
                    <a:pt x="844" y="226"/>
                    <a:pt x="846" y="216"/>
                    <a:pt x="840" y="215"/>
                  </a:cubicBezTo>
                  <a:cubicBezTo>
                    <a:pt x="827" y="212"/>
                    <a:pt x="823" y="237"/>
                    <a:pt x="829" y="248"/>
                  </a:cubicBezTo>
                  <a:cubicBezTo>
                    <a:pt x="826" y="251"/>
                    <a:pt x="821" y="247"/>
                    <a:pt x="816" y="250"/>
                  </a:cubicBezTo>
                  <a:cubicBezTo>
                    <a:pt x="814" y="251"/>
                    <a:pt x="818" y="256"/>
                    <a:pt x="814" y="256"/>
                  </a:cubicBezTo>
                  <a:cubicBezTo>
                    <a:pt x="807" y="258"/>
                    <a:pt x="806" y="253"/>
                    <a:pt x="802" y="251"/>
                  </a:cubicBezTo>
                  <a:cubicBezTo>
                    <a:pt x="785" y="249"/>
                    <a:pt x="782" y="260"/>
                    <a:pt x="766" y="259"/>
                  </a:cubicBezTo>
                  <a:cubicBezTo>
                    <a:pt x="765" y="261"/>
                    <a:pt x="762" y="262"/>
                    <a:pt x="761" y="265"/>
                  </a:cubicBezTo>
                  <a:cubicBezTo>
                    <a:pt x="754" y="254"/>
                    <a:pt x="741" y="255"/>
                    <a:pt x="729" y="260"/>
                  </a:cubicBezTo>
                  <a:cubicBezTo>
                    <a:pt x="728" y="257"/>
                    <a:pt x="733" y="255"/>
                    <a:pt x="730" y="253"/>
                  </a:cubicBezTo>
                  <a:cubicBezTo>
                    <a:pt x="710" y="255"/>
                    <a:pt x="726" y="232"/>
                    <a:pt x="734" y="228"/>
                  </a:cubicBezTo>
                  <a:cubicBezTo>
                    <a:pt x="734" y="226"/>
                    <a:pt x="728" y="229"/>
                    <a:pt x="730" y="226"/>
                  </a:cubicBezTo>
                  <a:cubicBezTo>
                    <a:pt x="731" y="221"/>
                    <a:pt x="736" y="220"/>
                    <a:pt x="734" y="215"/>
                  </a:cubicBezTo>
                  <a:cubicBezTo>
                    <a:pt x="726" y="214"/>
                    <a:pt x="726" y="222"/>
                    <a:pt x="720" y="223"/>
                  </a:cubicBezTo>
                  <a:cubicBezTo>
                    <a:pt x="721" y="221"/>
                    <a:pt x="720" y="219"/>
                    <a:pt x="718" y="219"/>
                  </a:cubicBezTo>
                  <a:cubicBezTo>
                    <a:pt x="717" y="220"/>
                    <a:pt x="715" y="222"/>
                    <a:pt x="714" y="223"/>
                  </a:cubicBezTo>
                  <a:cubicBezTo>
                    <a:pt x="713" y="226"/>
                    <a:pt x="717" y="224"/>
                    <a:pt x="715" y="227"/>
                  </a:cubicBezTo>
                  <a:cubicBezTo>
                    <a:pt x="712" y="226"/>
                    <a:pt x="709" y="229"/>
                    <a:pt x="708" y="231"/>
                  </a:cubicBezTo>
                  <a:cubicBezTo>
                    <a:pt x="708" y="231"/>
                    <a:pt x="708" y="247"/>
                    <a:pt x="708" y="247"/>
                  </a:cubicBezTo>
                  <a:cubicBezTo>
                    <a:pt x="708" y="250"/>
                    <a:pt x="711" y="251"/>
                    <a:pt x="711" y="253"/>
                  </a:cubicBezTo>
                  <a:cubicBezTo>
                    <a:pt x="710" y="260"/>
                    <a:pt x="706" y="261"/>
                    <a:pt x="701" y="266"/>
                  </a:cubicBezTo>
                  <a:cubicBezTo>
                    <a:pt x="699" y="264"/>
                    <a:pt x="697" y="261"/>
                    <a:pt x="692" y="262"/>
                  </a:cubicBezTo>
                  <a:cubicBezTo>
                    <a:pt x="690" y="263"/>
                    <a:pt x="691" y="267"/>
                    <a:pt x="689" y="267"/>
                  </a:cubicBezTo>
                  <a:cubicBezTo>
                    <a:pt x="658" y="260"/>
                    <a:pt x="655" y="300"/>
                    <a:pt x="622" y="295"/>
                  </a:cubicBezTo>
                  <a:cubicBezTo>
                    <a:pt x="624" y="289"/>
                    <a:pt x="622" y="290"/>
                    <a:pt x="619" y="287"/>
                  </a:cubicBezTo>
                  <a:cubicBezTo>
                    <a:pt x="624" y="281"/>
                    <a:pt x="635" y="282"/>
                    <a:pt x="635" y="272"/>
                  </a:cubicBezTo>
                  <a:cubicBezTo>
                    <a:pt x="632" y="268"/>
                    <a:pt x="626" y="267"/>
                    <a:pt x="621" y="270"/>
                  </a:cubicBezTo>
                  <a:cubicBezTo>
                    <a:pt x="626" y="261"/>
                    <a:pt x="625" y="249"/>
                    <a:pt x="618" y="242"/>
                  </a:cubicBezTo>
                  <a:cubicBezTo>
                    <a:pt x="620" y="240"/>
                    <a:pt x="621" y="236"/>
                    <a:pt x="622" y="234"/>
                  </a:cubicBezTo>
                  <a:cubicBezTo>
                    <a:pt x="621" y="231"/>
                    <a:pt x="619" y="228"/>
                    <a:pt x="616" y="227"/>
                  </a:cubicBezTo>
                  <a:cubicBezTo>
                    <a:pt x="622" y="221"/>
                    <a:pt x="630" y="217"/>
                    <a:pt x="634" y="209"/>
                  </a:cubicBezTo>
                  <a:cubicBezTo>
                    <a:pt x="629" y="208"/>
                    <a:pt x="623" y="208"/>
                    <a:pt x="618" y="206"/>
                  </a:cubicBezTo>
                  <a:cubicBezTo>
                    <a:pt x="622" y="203"/>
                    <a:pt x="629" y="203"/>
                    <a:pt x="629" y="197"/>
                  </a:cubicBezTo>
                  <a:cubicBezTo>
                    <a:pt x="623" y="197"/>
                    <a:pt x="620" y="198"/>
                    <a:pt x="615" y="197"/>
                  </a:cubicBezTo>
                  <a:cubicBezTo>
                    <a:pt x="610" y="200"/>
                    <a:pt x="608" y="205"/>
                    <a:pt x="602" y="206"/>
                  </a:cubicBezTo>
                  <a:cubicBezTo>
                    <a:pt x="604" y="217"/>
                    <a:pt x="593" y="215"/>
                    <a:pt x="591" y="222"/>
                  </a:cubicBezTo>
                  <a:cubicBezTo>
                    <a:pt x="592" y="225"/>
                    <a:pt x="595" y="217"/>
                    <a:pt x="596" y="221"/>
                  </a:cubicBezTo>
                  <a:cubicBezTo>
                    <a:pt x="592" y="222"/>
                    <a:pt x="592" y="228"/>
                    <a:pt x="589" y="230"/>
                  </a:cubicBezTo>
                  <a:cubicBezTo>
                    <a:pt x="589" y="227"/>
                    <a:pt x="587" y="226"/>
                    <a:pt x="583" y="228"/>
                  </a:cubicBezTo>
                  <a:cubicBezTo>
                    <a:pt x="586" y="231"/>
                    <a:pt x="586" y="232"/>
                    <a:pt x="586" y="235"/>
                  </a:cubicBezTo>
                  <a:cubicBezTo>
                    <a:pt x="588" y="233"/>
                    <a:pt x="590" y="232"/>
                    <a:pt x="593" y="234"/>
                  </a:cubicBezTo>
                  <a:cubicBezTo>
                    <a:pt x="591" y="237"/>
                    <a:pt x="587" y="237"/>
                    <a:pt x="587" y="242"/>
                  </a:cubicBezTo>
                  <a:cubicBezTo>
                    <a:pt x="590" y="244"/>
                    <a:pt x="600" y="240"/>
                    <a:pt x="602" y="241"/>
                  </a:cubicBezTo>
                  <a:cubicBezTo>
                    <a:pt x="601" y="243"/>
                    <a:pt x="597" y="243"/>
                    <a:pt x="597" y="248"/>
                  </a:cubicBezTo>
                  <a:cubicBezTo>
                    <a:pt x="597" y="250"/>
                    <a:pt x="601" y="249"/>
                    <a:pt x="601" y="252"/>
                  </a:cubicBezTo>
                  <a:cubicBezTo>
                    <a:pt x="598" y="255"/>
                    <a:pt x="597" y="260"/>
                    <a:pt x="593" y="262"/>
                  </a:cubicBezTo>
                  <a:cubicBezTo>
                    <a:pt x="589" y="260"/>
                    <a:pt x="585" y="259"/>
                    <a:pt x="580" y="259"/>
                  </a:cubicBezTo>
                  <a:cubicBezTo>
                    <a:pt x="580" y="262"/>
                    <a:pt x="578" y="263"/>
                    <a:pt x="576" y="266"/>
                  </a:cubicBezTo>
                  <a:cubicBezTo>
                    <a:pt x="578" y="266"/>
                    <a:pt x="580" y="266"/>
                    <a:pt x="581" y="268"/>
                  </a:cubicBezTo>
                  <a:cubicBezTo>
                    <a:pt x="579" y="276"/>
                    <a:pt x="565" y="272"/>
                    <a:pt x="565" y="282"/>
                  </a:cubicBezTo>
                  <a:cubicBezTo>
                    <a:pt x="572" y="279"/>
                    <a:pt x="575" y="286"/>
                    <a:pt x="581" y="287"/>
                  </a:cubicBezTo>
                  <a:cubicBezTo>
                    <a:pt x="565" y="287"/>
                    <a:pt x="557" y="295"/>
                    <a:pt x="547" y="303"/>
                  </a:cubicBezTo>
                  <a:cubicBezTo>
                    <a:pt x="554" y="307"/>
                    <a:pt x="560" y="294"/>
                    <a:pt x="567" y="302"/>
                  </a:cubicBezTo>
                  <a:cubicBezTo>
                    <a:pt x="571" y="301"/>
                    <a:pt x="573" y="297"/>
                    <a:pt x="577" y="296"/>
                  </a:cubicBezTo>
                  <a:cubicBezTo>
                    <a:pt x="580" y="295"/>
                    <a:pt x="578" y="299"/>
                    <a:pt x="581" y="299"/>
                  </a:cubicBezTo>
                  <a:cubicBezTo>
                    <a:pt x="594" y="297"/>
                    <a:pt x="607" y="300"/>
                    <a:pt x="621" y="295"/>
                  </a:cubicBezTo>
                  <a:cubicBezTo>
                    <a:pt x="626" y="312"/>
                    <a:pt x="603" y="306"/>
                    <a:pt x="599" y="317"/>
                  </a:cubicBezTo>
                  <a:cubicBezTo>
                    <a:pt x="595" y="317"/>
                    <a:pt x="591" y="317"/>
                    <a:pt x="589" y="316"/>
                  </a:cubicBezTo>
                  <a:cubicBezTo>
                    <a:pt x="589" y="312"/>
                    <a:pt x="588" y="309"/>
                    <a:pt x="583" y="310"/>
                  </a:cubicBezTo>
                  <a:cubicBezTo>
                    <a:pt x="588" y="324"/>
                    <a:pt x="570" y="328"/>
                    <a:pt x="562" y="320"/>
                  </a:cubicBezTo>
                  <a:cubicBezTo>
                    <a:pt x="558" y="323"/>
                    <a:pt x="549" y="320"/>
                    <a:pt x="546" y="323"/>
                  </a:cubicBezTo>
                  <a:cubicBezTo>
                    <a:pt x="549" y="328"/>
                    <a:pt x="541" y="328"/>
                    <a:pt x="542" y="332"/>
                  </a:cubicBezTo>
                  <a:cubicBezTo>
                    <a:pt x="549" y="336"/>
                    <a:pt x="557" y="338"/>
                    <a:pt x="562" y="345"/>
                  </a:cubicBezTo>
                  <a:cubicBezTo>
                    <a:pt x="559" y="351"/>
                    <a:pt x="563" y="357"/>
                    <a:pt x="567" y="361"/>
                  </a:cubicBezTo>
                  <a:cubicBezTo>
                    <a:pt x="564" y="378"/>
                    <a:pt x="554" y="391"/>
                    <a:pt x="545" y="403"/>
                  </a:cubicBezTo>
                  <a:cubicBezTo>
                    <a:pt x="534" y="401"/>
                    <a:pt x="525" y="401"/>
                    <a:pt x="516" y="400"/>
                  </a:cubicBezTo>
                  <a:cubicBezTo>
                    <a:pt x="510" y="400"/>
                    <a:pt x="509" y="396"/>
                    <a:pt x="504" y="395"/>
                  </a:cubicBezTo>
                  <a:cubicBezTo>
                    <a:pt x="493" y="391"/>
                    <a:pt x="483" y="396"/>
                    <a:pt x="479" y="389"/>
                  </a:cubicBezTo>
                  <a:cubicBezTo>
                    <a:pt x="474" y="395"/>
                    <a:pt x="462" y="393"/>
                    <a:pt x="457" y="398"/>
                  </a:cubicBezTo>
                  <a:cubicBezTo>
                    <a:pt x="460" y="407"/>
                    <a:pt x="456" y="410"/>
                    <a:pt x="454" y="414"/>
                  </a:cubicBezTo>
                  <a:cubicBezTo>
                    <a:pt x="451" y="422"/>
                    <a:pt x="449" y="431"/>
                    <a:pt x="441" y="441"/>
                  </a:cubicBezTo>
                  <a:cubicBezTo>
                    <a:pt x="435" y="448"/>
                    <a:pt x="425" y="458"/>
                    <a:pt x="425" y="465"/>
                  </a:cubicBezTo>
                  <a:cubicBezTo>
                    <a:pt x="424" y="467"/>
                    <a:pt x="427" y="471"/>
                    <a:pt x="427" y="472"/>
                  </a:cubicBezTo>
                  <a:cubicBezTo>
                    <a:pt x="428" y="481"/>
                    <a:pt x="421" y="484"/>
                    <a:pt x="418" y="493"/>
                  </a:cubicBezTo>
                  <a:cubicBezTo>
                    <a:pt x="421" y="496"/>
                    <a:pt x="427" y="495"/>
                    <a:pt x="429" y="498"/>
                  </a:cubicBezTo>
                  <a:cubicBezTo>
                    <a:pt x="433" y="497"/>
                    <a:pt x="436" y="495"/>
                    <a:pt x="441" y="495"/>
                  </a:cubicBezTo>
                  <a:cubicBezTo>
                    <a:pt x="446" y="500"/>
                    <a:pt x="447" y="504"/>
                    <a:pt x="446" y="514"/>
                  </a:cubicBezTo>
                  <a:cubicBezTo>
                    <a:pt x="451" y="521"/>
                    <a:pt x="455" y="514"/>
                    <a:pt x="462" y="512"/>
                  </a:cubicBezTo>
                  <a:cubicBezTo>
                    <a:pt x="476" y="506"/>
                    <a:pt x="489" y="512"/>
                    <a:pt x="501" y="513"/>
                  </a:cubicBezTo>
                  <a:cubicBezTo>
                    <a:pt x="508" y="507"/>
                    <a:pt x="510" y="498"/>
                    <a:pt x="523" y="499"/>
                  </a:cubicBezTo>
                  <a:cubicBezTo>
                    <a:pt x="527" y="491"/>
                    <a:pt x="532" y="485"/>
                    <a:pt x="542" y="483"/>
                  </a:cubicBezTo>
                  <a:cubicBezTo>
                    <a:pt x="543" y="476"/>
                    <a:pt x="538" y="477"/>
                    <a:pt x="538" y="471"/>
                  </a:cubicBezTo>
                  <a:cubicBezTo>
                    <a:pt x="543" y="459"/>
                    <a:pt x="557" y="456"/>
                    <a:pt x="564" y="445"/>
                  </a:cubicBezTo>
                  <a:cubicBezTo>
                    <a:pt x="578" y="441"/>
                    <a:pt x="602" y="440"/>
                    <a:pt x="596" y="421"/>
                  </a:cubicBezTo>
                  <a:cubicBezTo>
                    <a:pt x="602" y="415"/>
                    <a:pt x="607" y="408"/>
                    <a:pt x="615" y="408"/>
                  </a:cubicBezTo>
                  <a:cubicBezTo>
                    <a:pt x="616" y="408"/>
                    <a:pt x="618" y="410"/>
                    <a:pt x="621" y="411"/>
                  </a:cubicBezTo>
                  <a:cubicBezTo>
                    <a:pt x="632" y="413"/>
                    <a:pt x="631" y="419"/>
                    <a:pt x="644" y="418"/>
                  </a:cubicBezTo>
                  <a:cubicBezTo>
                    <a:pt x="645" y="409"/>
                    <a:pt x="656" y="410"/>
                    <a:pt x="664" y="407"/>
                  </a:cubicBezTo>
                  <a:cubicBezTo>
                    <a:pt x="670" y="404"/>
                    <a:pt x="672" y="399"/>
                    <a:pt x="676" y="398"/>
                  </a:cubicBezTo>
                  <a:cubicBezTo>
                    <a:pt x="687" y="398"/>
                    <a:pt x="695" y="409"/>
                    <a:pt x="692" y="422"/>
                  </a:cubicBezTo>
                  <a:cubicBezTo>
                    <a:pt x="703" y="432"/>
                    <a:pt x="715" y="440"/>
                    <a:pt x="723" y="453"/>
                  </a:cubicBezTo>
                  <a:cubicBezTo>
                    <a:pt x="731" y="453"/>
                    <a:pt x="731" y="453"/>
                    <a:pt x="731" y="453"/>
                  </a:cubicBezTo>
                  <a:cubicBezTo>
                    <a:pt x="732" y="462"/>
                    <a:pt x="745" y="458"/>
                    <a:pt x="749" y="464"/>
                  </a:cubicBezTo>
                  <a:cubicBezTo>
                    <a:pt x="748" y="468"/>
                    <a:pt x="750" y="469"/>
                    <a:pt x="751" y="472"/>
                  </a:cubicBezTo>
                  <a:cubicBezTo>
                    <a:pt x="753" y="473"/>
                    <a:pt x="757" y="473"/>
                    <a:pt x="759" y="475"/>
                  </a:cubicBezTo>
                  <a:cubicBezTo>
                    <a:pt x="760" y="481"/>
                    <a:pt x="762" y="487"/>
                    <a:pt x="764" y="491"/>
                  </a:cubicBezTo>
                  <a:cubicBezTo>
                    <a:pt x="760" y="496"/>
                    <a:pt x="760" y="503"/>
                    <a:pt x="753" y="505"/>
                  </a:cubicBezTo>
                  <a:cubicBezTo>
                    <a:pt x="751" y="505"/>
                    <a:pt x="747" y="504"/>
                    <a:pt x="743" y="504"/>
                  </a:cubicBezTo>
                  <a:cubicBezTo>
                    <a:pt x="733" y="505"/>
                    <a:pt x="728" y="509"/>
                    <a:pt x="722" y="503"/>
                  </a:cubicBezTo>
                  <a:cubicBezTo>
                    <a:pt x="718" y="506"/>
                    <a:pt x="716" y="504"/>
                    <a:pt x="710" y="504"/>
                  </a:cubicBezTo>
                  <a:cubicBezTo>
                    <a:pt x="709" y="507"/>
                    <a:pt x="707" y="508"/>
                    <a:pt x="709" y="512"/>
                  </a:cubicBezTo>
                  <a:cubicBezTo>
                    <a:pt x="717" y="512"/>
                    <a:pt x="720" y="521"/>
                    <a:pt x="727" y="524"/>
                  </a:cubicBezTo>
                  <a:cubicBezTo>
                    <a:pt x="729" y="525"/>
                    <a:pt x="732" y="523"/>
                    <a:pt x="734" y="524"/>
                  </a:cubicBezTo>
                  <a:cubicBezTo>
                    <a:pt x="738" y="526"/>
                    <a:pt x="742" y="535"/>
                    <a:pt x="748" y="530"/>
                  </a:cubicBezTo>
                  <a:cubicBezTo>
                    <a:pt x="750" y="523"/>
                    <a:pt x="746" y="512"/>
                    <a:pt x="754" y="510"/>
                  </a:cubicBezTo>
                  <a:cubicBezTo>
                    <a:pt x="768" y="513"/>
                    <a:pt x="768" y="494"/>
                    <a:pt x="780" y="492"/>
                  </a:cubicBezTo>
                  <a:cubicBezTo>
                    <a:pt x="781" y="483"/>
                    <a:pt x="773" y="483"/>
                    <a:pt x="771" y="477"/>
                  </a:cubicBezTo>
                  <a:cubicBezTo>
                    <a:pt x="774" y="474"/>
                    <a:pt x="774" y="468"/>
                    <a:pt x="779" y="467"/>
                  </a:cubicBezTo>
                  <a:cubicBezTo>
                    <a:pt x="788" y="467"/>
                    <a:pt x="791" y="482"/>
                    <a:pt x="800" y="475"/>
                  </a:cubicBezTo>
                  <a:cubicBezTo>
                    <a:pt x="796" y="458"/>
                    <a:pt x="776" y="458"/>
                    <a:pt x="764" y="449"/>
                  </a:cubicBezTo>
                  <a:cubicBezTo>
                    <a:pt x="766" y="447"/>
                    <a:pt x="768" y="446"/>
                    <a:pt x="767" y="442"/>
                  </a:cubicBezTo>
                  <a:cubicBezTo>
                    <a:pt x="757" y="440"/>
                    <a:pt x="749" y="439"/>
                    <a:pt x="743" y="433"/>
                  </a:cubicBezTo>
                  <a:cubicBezTo>
                    <a:pt x="739" y="428"/>
                    <a:pt x="739" y="420"/>
                    <a:pt x="736" y="414"/>
                  </a:cubicBezTo>
                  <a:cubicBezTo>
                    <a:pt x="731" y="406"/>
                    <a:pt x="720" y="405"/>
                    <a:pt x="720" y="395"/>
                  </a:cubicBezTo>
                  <a:cubicBezTo>
                    <a:pt x="724" y="394"/>
                    <a:pt x="725" y="389"/>
                    <a:pt x="722" y="386"/>
                  </a:cubicBezTo>
                  <a:cubicBezTo>
                    <a:pt x="726" y="383"/>
                    <a:pt x="734" y="378"/>
                    <a:pt x="740" y="381"/>
                  </a:cubicBezTo>
                  <a:cubicBezTo>
                    <a:pt x="740" y="386"/>
                    <a:pt x="736" y="388"/>
                    <a:pt x="738" y="394"/>
                  </a:cubicBezTo>
                  <a:cubicBezTo>
                    <a:pt x="744" y="394"/>
                    <a:pt x="742" y="388"/>
                    <a:pt x="748" y="390"/>
                  </a:cubicBezTo>
                  <a:cubicBezTo>
                    <a:pt x="751" y="402"/>
                    <a:pt x="761" y="406"/>
                    <a:pt x="765" y="417"/>
                  </a:cubicBezTo>
                  <a:cubicBezTo>
                    <a:pt x="770" y="416"/>
                    <a:pt x="773" y="418"/>
                    <a:pt x="777" y="418"/>
                  </a:cubicBezTo>
                  <a:cubicBezTo>
                    <a:pt x="778" y="420"/>
                    <a:pt x="778" y="423"/>
                    <a:pt x="780" y="424"/>
                  </a:cubicBezTo>
                  <a:cubicBezTo>
                    <a:pt x="795" y="428"/>
                    <a:pt x="801" y="441"/>
                    <a:pt x="814" y="446"/>
                  </a:cubicBezTo>
                  <a:cubicBezTo>
                    <a:pt x="813" y="455"/>
                    <a:pt x="811" y="463"/>
                    <a:pt x="809" y="469"/>
                  </a:cubicBezTo>
                  <a:cubicBezTo>
                    <a:pt x="811" y="473"/>
                    <a:pt x="818" y="473"/>
                    <a:pt x="817" y="481"/>
                  </a:cubicBezTo>
                  <a:cubicBezTo>
                    <a:pt x="827" y="485"/>
                    <a:pt x="831" y="496"/>
                    <a:pt x="838" y="503"/>
                  </a:cubicBezTo>
                  <a:cubicBezTo>
                    <a:pt x="841" y="504"/>
                    <a:pt x="847" y="501"/>
                    <a:pt x="847" y="505"/>
                  </a:cubicBezTo>
                  <a:cubicBezTo>
                    <a:pt x="845" y="507"/>
                    <a:pt x="840" y="506"/>
                    <a:pt x="839" y="510"/>
                  </a:cubicBezTo>
                  <a:cubicBezTo>
                    <a:pt x="843" y="516"/>
                    <a:pt x="846" y="518"/>
                    <a:pt x="844" y="529"/>
                  </a:cubicBezTo>
                  <a:cubicBezTo>
                    <a:pt x="848" y="531"/>
                    <a:pt x="851" y="529"/>
                    <a:pt x="856" y="529"/>
                  </a:cubicBezTo>
                  <a:cubicBezTo>
                    <a:pt x="856" y="531"/>
                    <a:pt x="857" y="532"/>
                    <a:pt x="858" y="535"/>
                  </a:cubicBezTo>
                  <a:cubicBezTo>
                    <a:pt x="863" y="530"/>
                    <a:pt x="865" y="538"/>
                    <a:pt x="870" y="536"/>
                  </a:cubicBezTo>
                  <a:cubicBezTo>
                    <a:pt x="870" y="528"/>
                    <a:pt x="864" y="521"/>
                    <a:pt x="864" y="516"/>
                  </a:cubicBezTo>
                  <a:cubicBezTo>
                    <a:pt x="869" y="516"/>
                    <a:pt x="868" y="521"/>
                    <a:pt x="874" y="519"/>
                  </a:cubicBezTo>
                  <a:cubicBezTo>
                    <a:pt x="873" y="511"/>
                    <a:pt x="857" y="510"/>
                    <a:pt x="852" y="503"/>
                  </a:cubicBezTo>
                  <a:cubicBezTo>
                    <a:pt x="863" y="501"/>
                    <a:pt x="870" y="511"/>
                    <a:pt x="881" y="513"/>
                  </a:cubicBezTo>
                  <a:cubicBezTo>
                    <a:pt x="883" y="510"/>
                    <a:pt x="881" y="506"/>
                    <a:pt x="880" y="504"/>
                  </a:cubicBezTo>
                  <a:cubicBezTo>
                    <a:pt x="883" y="503"/>
                    <a:pt x="886" y="502"/>
                    <a:pt x="885" y="496"/>
                  </a:cubicBezTo>
                  <a:cubicBezTo>
                    <a:pt x="881" y="496"/>
                    <a:pt x="876" y="496"/>
                    <a:pt x="873" y="493"/>
                  </a:cubicBezTo>
                  <a:cubicBezTo>
                    <a:pt x="867" y="489"/>
                    <a:pt x="860" y="474"/>
                    <a:pt x="858" y="467"/>
                  </a:cubicBezTo>
                  <a:cubicBezTo>
                    <a:pt x="864" y="469"/>
                    <a:pt x="866" y="474"/>
                    <a:pt x="872" y="476"/>
                  </a:cubicBezTo>
                  <a:cubicBezTo>
                    <a:pt x="878" y="473"/>
                    <a:pt x="872" y="463"/>
                    <a:pt x="880" y="461"/>
                  </a:cubicBezTo>
                  <a:cubicBezTo>
                    <a:pt x="884" y="461"/>
                    <a:pt x="884" y="464"/>
                    <a:pt x="887" y="465"/>
                  </a:cubicBezTo>
                  <a:cubicBezTo>
                    <a:pt x="891" y="463"/>
                    <a:pt x="891" y="459"/>
                    <a:pt x="895" y="459"/>
                  </a:cubicBezTo>
                  <a:cubicBezTo>
                    <a:pt x="900" y="461"/>
                    <a:pt x="908" y="461"/>
                    <a:pt x="908" y="467"/>
                  </a:cubicBezTo>
                  <a:cubicBezTo>
                    <a:pt x="906" y="469"/>
                    <a:pt x="900" y="468"/>
                    <a:pt x="902" y="473"/>
                  </a:cubicBezTo>
                  <a:cubicBezTo>
                    <a:pt x="906" y="477"/>
                    <a:pt x="907" y="470"/>
                    <a:pt x="911" y="470"/>
                  </a:cubicBezTo>
                  <a:cubicBezTo>
                    <a:pt x="910" y="479"/>
                    <a:pt x="910" y="484"/>
                    <a:pt x="906" y="490"/>
                  </a:cubicBezTo>
                  <a:cubicBezTo>
                    <a:pt x="910" y="490"/>
                    <a:pt x="912" y="492"/>
                    <a:pt x="916" y="492"/>
                  </a:cubicBezTo>
                  <a:cubicBezTo>
                    <a:pt x="920" y="487"/>
                    <a:pt x="914" y="487"/>
                    <a:pt x="912" y="484"/>
                  </a:cubicBezTo>
                  <a:cubicBezTo>
                    <a:pt x="922" y="483"/>
                    <a:pt x="922" y="498"/>
                    <a:pt x="923" y="502"/>
                  </a:cubicBezTo>
                  <a:cubicBezTo>
                    <a:pt x="919" y="497"/>
                    <a:pt x="915" y="497"/>
                    <a:pt x="907" y="498"/>
                  </a:cubicBezTo>
                  <a:cubicBezTo>
                    <a:pt x="907" y="504"/>
                    <a:pt x="907" y="504"/>
                    <a:pt x="907" y="504"/>
                  </a:cubicBezTo>
                  <a:cubicBezTo>
                    <a:pt x="918" y="505"/>
                    <a:pt x="933" y="506"/>
                    <a:pt x="930" y="519"/>
                  </a:cubicBezTo>
                  <a:cubicBezTo>
                    <a:pt x="936" y="523"/>
                    <a:pt x="943" y="525"/>
                    <a:pt x="946" y="531"/>
                  </a:cubicBezTo>
                  <a:cubicBezTo>
                    <a:pt x="957" y="529"/>
                    <a:pt x="965" y="543"/>
                    <a:pt x="980" y="537"/>
                  </a:cubicBezTo>
                  <a:cubicBezTo>
                    <a:pt x="978" y="524"/>
                    <a:pt x="995" y="524"/>
                    <a:pt x="1003" y="530"/>
                  </a:cubicBezTo>
                  <a:cubicBezTo>
                    <a:pt x="1006" y="532"/>
                    <a:pt x="1006" y="537"/>
                    <a:pt x="1010" y="539"/>
                  </a:cubicBezTo>
                  <a:cubicBezTo>
                    <a:pt x="1030" y="545"/>
                    <a:pt x="1038" y="516"/>
                    <a:pt x="1055" y="528"/>
                  </a:cubicBezTo>
                  <a:cubicBezTo>
                    <a:pt x="1059" y="527"/>
                    <a:pt x="1058" y="522"/>
                    <a:pt x="1063" y="522"/>
                  </a:cubicBezTo>
                  <a:cubicBezTo>
                    <a:pt x="1064" y="533"/>
                    <a:pt x="1056" y="553"/>
                    <a:pt x="1068" y="561"/>
                  </a:cubicBezTo>
                  <a:cubicBezTo>
                    <a:pt x="1054" y="576"/>
                    <a:pt x="1068" y="603"/>
                    <a:pt x="1059" y="616"/>
                  </a:cubicBezTo>
                  <a:cubicBezTo>
                    <a:pt x="1054" y="616"/>
                    <a:pt x="1054" y="616"/>
                    <a:pt x="1054" y="616"/>
                  </a:cubicBezTo>
                  <a:cubicBezTo>
                    <a:pt x="1052" y="630"/>
                    <a:pt x="1039" y="623"/>
                    <a:pt x="1027" y="625"/>
                  </a:cubicBezTo>
                  <a:cubicBezTo>
                    <a:pt x="1022" y="616"/>
                    <a:pt x="1015" y="621"/>
                    <a:pt x="1005" y="622"/>
                  </a:cubicBezTo>
                  <a:cubicBezTo>
                    <a:pt x="1002" y="622"/>
                    <a:pt x="1000" y="621"/>
                    <a:pt x="999" y="621"/>
                  </a:cubicBezTo>
                  <a:cubicBezTo>
                    <a:pt x="990" y="623"/>
                    <a:pt x="983" y="633"/>
                    <a:pt x="977" y="634"/>
                  </a:cubicBezTo>
                  <a:cubicBezTo>
                    <a:pt x="970" y="628"/>
                    <a:pt x="960" y="632"/>
                    <a:pt x="952" y="630"/>
                  </a:cubicBezTo>
                  <a:cubicBezTo>
                    <a:pt x="949" y="629"/>
                    <a:pt x="947" y="626"/>
                    <a:pt x="944" y="625"/>
                  </a:cubicBezTo>
                  <a:cubicBezTo>
                    <a:pt x="942" y="624"/>
                    <a:pt x="938" y="626"/>
                    <a:pt x="934" y="625"/>
                  </a:cubicBezTo>
                  <a:cubicBezTo>
                    <a:pt x="925" y="624"/>
                    <a:pt x="920" y="619"/>
                    <a:pt x="913" y="624"/>
                  </a:cubicBezTo>
                  <a:cubicBezTo>
                    <a:pt x="911" y="622"/>
                    <a:pt x="908" y="621"/>
                    <a:pt x="908" y="616"/>
                  </a:cubicBezTo>
                  <a:cubicBezTo>
                    <a:pt x="895" y="618"/>
                    <a:pt x="893" y="610"/>
                    <a:pt x="879" y="612"/>
                  </a:cubicBezTo>
                  <a:cubicBezTo>
                    <a:pt x="875" y="611"/>
                    <a:pt x="874" y="606"/>
                    <a:pt x="872" y="603"/>
                  </a:cubicBezTo>
                  <a:cubicBezTo>
                    <a:pt x="866" y="605"/>
                    <a:pt x="862" y="600"/>
                    <a:pt x="857" y="600"/>
                  </a:cubicBezTo>
                  <a:cubicBezTo>
                    <a:pt x="850" y="599"/>
                    <a:pt x="847" y="602"/>
                    <a:pt x="843" y="603"/>
                  </a:cubicBezTo>
                  <a:cubicBezTo>
                    <a:pt x="839" y="604"/>
                    <a:pt x="834" y="602"/>
                    <a:pt x="834" y="603"/>
                  </a:cubicBezTo>
                  <a:cubicBezTo>
                    <a:pt x="831" y="604"/>
                    <a:pt x="822" y="612"/>
                    <a:pt x="821" y="615"/>
                  </a:cubicBezTo>
                  <a:cubicBezTo>
                    <a:pt x="819" y="622"/>
                    <a:pt x="827" y="628"/>
                    <a:pt x="826" y="635"/>
                  </a:cubicBezTo>
                  <a:cubicBezTo>
                    <a:pt x="825" y="641"/>
                    <a:pt x="818" y="646"/>
                    <a:pt x="813" y="647"/>
                  </a:cubicBezTo>
                  <a:cubicBezTo>
                    <a:pt x="803" y="649"/>
                    <a:pt x="802" y="644"/>
                    <a:pt x="797" y="640"/>
                  </a:cubicBezTo>
                  <a:cubicBezTo>
                    <a:pt x="792" y="636"/>
                    <a:pt x="782" y="631"/>
                    <a:pt x="778" y="630"/>
                  </a:cubicBezTo>
                  <a:cubicBezTo>
                    <a:pt x="768" y="628"/>
                    <a:pt x="760" y="632"/>
                    <a:pt x="754" y="628"/>
                  </a:cubicBezTo>
                  <a:cubicBezTo>
                    <a:pt x="748" y="624"/>
                    <a:pt x="751" y="613"/>
                    <a:pt x="744" y="608"/>
                  </a:cubicBezTo>
                  <a:cubicBezTo>
                    <a:pt x="743" y="606"/>
                    <a:pt x="738" y="606"/>
                    <a:pt x="735" y="605"/>
                  </a:cubicBezTo>
                  <a:cubicBezTo>
                    <a:pt x="731" y="603"/>
                    <a:pt x="729" y="600"/>
                    <a:pt x="727" y="599"/>
                  </a:cubicBezTo>
                  <a:cubicBezTo>
                    <a:pt x="718" y="596"/>
                    <a:pt x="709" y="601"/>
                    <a:pt x="701" y="599"/>
                  </a:cubicBezTo>
                  <a:cubicBezTo>
                    <a:pt x="693" y="597"/>
                    <a:pt x="691" y="590"/>
                    <a:pt x="683" y="588"/>
                  </a:cubicBezTo>
                  <a:cubicBezTo>
                    <a:pt x="682" y="586"/>
                    <a:pt x="681" y="584"/>
                    <a:pt x="680" y="582"/>
                  </a:cubicBezTo>
                  <a:cubicBezTo>
                    <a:pt x="672" y="582"/>
                    <a:pt x="667" y="579"/>
                    <a:pt x="666" y="573"/>
                  </a:cubicBezTo>
                  <a:cubicBezTo>
                    <a:pt x="673" y="563"/>
                    <a:pt x="687" y="562"/>
                    <a:pt x="685" y="550"/>
                  </a:cubicBezTo>
                  <a:cubicBezTo>
                    <a:pt x="684" y="546"/>
                    <a:pt x="677" y="544"/>
                    <a:pt x="677" y="539"/>
                  </a:cubicBezTo>
                  <a:cubicBezTo>
                    <a:pt x="676" y="531"/>
                    <a:pt x="690" y="530"/>
                    <a:pt x="687" y="521"/>
                  </a:cubicBezTo>
                  <a:cubicBezTo>
                    <a:pt x="680" y="521"/>
                    <a:pt x="678" y="529"/>
                    <a:pt x="673" y="527"/>
                  </a:cubicBezTo>
                  <a:cubicBezTo>
                    <a:pt x="672" y="522"/>
                    <a:pt x="677" y="521"/>
                    <a:pt x="674" y="516"/>
                  </a:cubicBezTo>
                  <a:cubicBezTo>
                    <a:pt x="663" y="512"/>
                    <a:pt x="646" y="528"/>
                    <a:pt x="635" y="516"/>
                  </a:cubicBezTo>
                  <a:cubicBezTo>
                    <a:pt x="631" y="521"/>
                    <a:pt x="623" y="519"/>
                    <a:pt x="619" y="515"/>
                  </a:cubicBezTo>
                  <a:cubicBezTo>
                    <a:pt x="615" y="521"/>
                    <a:pt x="608" y="518"/>
                    <a:pt x="602" y="522"/>
                  </a:cubicBezTo>
                  <a:cubicBezTo>
                    <a:pt x="590" y="516"/>
                    <a:pt x="573" y="518"/>
                    <a:pt x="559" y="518"/>
                  </a:cubicBezTo>
                  <a:cubicBezTo>
                    <a:pt x="545" y="519"/>
                    <a:pt x="529" y="519"/>
                    <a:pt x="523" y="529"/>
                  </a:cubicBezTo>
                  <a:cubicBezTo>
                    <a:pt x="505" y="526"/>
                    <a:pt x="499" y="548"/>
                    <a:pt x="484" y="534"/>
                  </a:cubicBezTo>
                  <a:cubicBezTo>
                    <a:pt x="475" y="537"/>
                    <a:pt x="470" y="529"/>
                    <a:pt x="462" y="534"/>
                  </a:cubicBezTo>
                  <a:cubicBezTo>
                    <a:pt x="457" y="531"/>
                    <a:pt x="455" y="526"/>
                    <a:pt x="452" y="520"/>
                  </a:cubicBezTo>
                  <a:cubicBezTo>
                    <a:pt x="446" y="520"/>
                    <a:pt x="446" y="520"/>
                    <a:pt x="446" y="520"/>
                  </a:cubicBezTo>
                  <a:cubicBezTo>
                    <a:pt x="436" y="536"/>
                    <a:pt x="428" y="552"/>
                    <a:pt x="406" y="555"/>
                  </a:cubicBezTo>
                  <a:cubicBezTo>
                    <a:pt x="394" y="554"/>
                    <a:pt x="392" y="564"/>
                    <a:pt x="383" y="567"/>
                  </a:cubicBezTo>
                  <a:cubicBezTo>
                    <a:pt x="382" y="577"/>
                    <a:pt x="373" y="580"/>
                    <a:pt x="369" y="587"/>
                  </a:cubicBezTo>
                  <a:cubicBezTo>
                    <a:pt x="370" y="593"/>
                    <a:pt x="367" y="596"/>
                    <a:pt x="365" y="598"/>
                  </a:cubicBezTo>
                  <a:cubicBezTo>
                    <a:pt x="367" y="603"/>
                    <a:pt x="365" y="608"/>
                    <a:pt x="363" y="611"/>
                  </a:cubicBezTo>
                  <a:cubicBezTo>
                    <a:pt x="353" y="614"/>
                    <a:pt x="353" y="626"/>
                    <a:pt x="340" y="626"/>
                  </a:cubicBezTo>
                  <a:cubicBezTo>
                    <a:pt x="336" y="635"/>
                    <a:pt x="323" y="638"/>
                    <a:pt x="311" y="636"/>
                  </a:cubicBezTo>
                  <a:cubicBezTo>
                    <a:pt x="303" y="642"/>
                    <a:pt x="302" y="655"/>
                    <a:pt x="292" y="659"/>
                  </a:cubicBezTo>
                  <a:cubicBezTo>
                    <a:pt x="287" y="658"/>
                    <a:pt x="286" y="658"/>
                    <a:pt x="282" y="659"/>
                  </a:cubicBezTo>
                  <a:cubicBezTo>
                    <a:pt x="282" y="667"/>
                    <a:pt x="277" y="670"/>
                    <a:pt x="273" y="674"/>
                  </a:cubicBezTo>
                  <a:cubicBezTo>
                    <a:pt x="273" y="684"/>
                    <a:pt x="273" y="684"/>
                    <a:pt x="273" y="684"/>
                  </a:cubicBezTo>
                  <a:cubicBezTo>
                    <a:pt x="267" y="688"/>
                    <a:pt x="263" y="695"/>
                    <a:pt x="255" y="696"/>
                  </a:cubicBezTo>
                  <a:cubicBezTo>
                    <a:pt x="252" y="705"/>
                    <a:pt x="246" y="711"/>
                    <a:pt x="242" y="719"/>
                  </a:cubicBezTo>
                  <a:cubicBezTo>
                    <a:pt x="233" y="723"/>
                    <a:pt x="230" y="729"/>
                    <a:pt x="230" y="738"/>
                  </a:cubicBezTo>
                  <a:cubicBezTo>
                    <a:pt x="229" y="745"/>
                    <a:pt x="233" y="751"/>
                    <a:pt x="234" y="755"/>
                  </a:cubicBezTo>
                  <a:cubicBezTo>
                    <a:pt x="234" y="761"/>
                    <a:pt x="229" y="767"/>
                    <a:pt x="228" y="773"/>
                  </a:cubicBezTo>
                  <a:cubicBezTo>
                    <a:pt x="227" y="779"/>
                    <a:pt x="230" y="785"/>
                    <a:pt x="230" y="791"/>
                  </a:cubicBezTo>
                  <a:cubicBezTo>
                    <a:pt x="228" y="807"/>
                    <a:pt x="214" y="817"/>
                    <a:pt x="215" y="834"/>
                  </a:cubicBezTo>
                  <a:cubicBezTo>
                    <a:pt x="213" y="838"/>
                    <a:pt x="204" y="841"/>
                    <a:pt x="203" y="848"/>
                  </a:cubicBezTo>
                  <a:cubicBezTo>
                    <a:pt x="202" y="853"/>
                    <a:pt x="209" y="862"/>
                    <a:pt x="208" y="872"/>
                  </a:cubicBezTo>
                  <a:cubicBezTo>
                    <a:pt x="207" y="878"/>
                    <a:pt x="202" y="883"/>
                    <a:pt x="203" y="887"/>
                  </a:cubicBezTo>
                  <a:cubicBezTo>
                    <a:pt x="203" y="892"/>
                    <a:pt x="208" y="895"/>
                    <a:pt x="210" y="897"/>
                  </a:cubicBezTo>
                  <a:cubicBezTo>
                    <a:pt x="209" y="899"/>
                    <a:pt x="209" y="901"/>
                    <a:pt x="210" y="903"/>
                  </a:cubicBezTo>
                  <a:cubicBezTo>
                    <a:pt x="212" y="905"/>
                    <a:pt x="215" y="902"/>
                    <a:pt x="217" y="905"/>
                  </a:cubicBezTo>
                  <a:cubicBezTo>
                    <a:pt x="217" y="917"/>
                    <a:pt x="222" y="924"/>
                    <a:pt x="228" y="929"/>
                  </a:cubicBezTo>
                  <a:cubicBezTo>
                    <a:pt x="228" y="943"/>
                    <a:pt x="249" y="953"/>
                    <a:pt x="242" y="971"/>
                  </a:cubicBezTo>
                  <a:cubicBezTo>
                    <a:pt x="246" y="980"/>
                    <a:pt x="248" y="990"/>
                    <a:pt x="253" y="997"/>
                  </a:cubicBezTo>
                  <a:cubicBezTo>
                    <a:pt x="255" y="999"/>
                    <a:pt x="258" y="999"/>
                    <a:pt x="259" y="1000"/>
                  </a:cubicBezTo>
                  <a:cubicBezTo>
                    <a:pt x="265" y="1005"/>
                    <a:pt x="269" y="1015"/>
                    <a:pt x="276" y="1021"/>
                  </a:cubicBezTo>
                  <a:cubicBezTo>
                    <a:pt x="279" y="1024"/>
                    <a:pt x="281" y="1024"/>
                    <a:pt x="283" y="1027"/>
                  </a:cubicBezTo>
                  <a:cubicBezTo>
                    <a:pt x="287" y="1032"/>
                    <a:pt x="289" y="1039"/>
                    <a:pt x="293" y="1044"/>
                  </a:cubicBezTo>
                  <a:cubicBezTo>
                    <a:pt x="297" y="1048"/>
                    <a:pt x="304" y="1051"/>
                    <a:pt x="308" y="1055"/>
                  </a:cubicBezTo>
                  <a:cubicBezTo>
                    <a:pt x="312" y="1058"/>
                    <a:pt x="314" y="1062"/>
                    <a:pt x="317" y="1065"/>
                  </a:cubicBezTo>
                  <a:cubicBezTo>
                    <a:pt x="325" y="1070"/>
                    <a:pt x="331" y="1063"/>
                    <a:pt x="343" y="1062"/>
                  </a:cubicBezTo>
                  <a:cubicBezTo>
                    <a:pt x="350" y="1061"/>
                    <a:pt x="357" y="1063"/>
                    <a:pt x="363" y="1064"/>
                  </a:cubicBezTo>
                  <a:cubicBezTo>
                    <a:pt x="374" y="1064"/>
                    <a:pt x="378" y="1062"/>
                    <a:pt x="384" y="1068"/>
                  </a:cubicBezTo>
                  <a:cubicBezTo>
                    <a:pt x="387" y="1069"/>
                    <a:pt x="389" y="1068"/>
                    <a:pt x="391" y="1067"/>
                  </a:cubicBezTo>
                  <a:cubicBezTo>
                    <a:pt x="394" y="1075"/>
                    <a:pt x="405" y="1075"/>
                    <a:pt x="409" y="1082"/>
                  </a:cubicBezTo>
                  <a:cubicBezTo>
                    <a:pt x="425" y="1078"/>
                    <a:pt x="440" y="1078"/>
                    <a:pt x="452" y="1070"/>
                  </a:cubicBezTo>
                  <a:cubicBezTo>
                    <a:pt x="460" y="1078"/>
                    <a:pt x="467" y="1068"/>
                    <a:pt x="474" y="1067"/>
                  </a:cubicBezTo>
                  <a:cubicBezTo>
                    <a:pt x="477" y="1067"/>
                    <a:pt x="481" y="1070"/>
                    <a:pt x="486" y="1069"/>
                  </a:cubicBezTo>
                  <a:cubicBezTo>
                    <a:pt x="489" y="1069"/>
                    <a:pt x="491" y="1067"/>
                    <a:pt x="493" y="1067"/>
                  </a:cubicBezTo>
                  <a:cubicBezTo>
                    <a:pt x="496" y="1068"/>
                    <a:pt x="498" y="1071"/>
                    <a:pt x="501" y="1071"/>
                  </a:cubicBezTo>
                  <a:cubicBezTo>
                    <a:pt x="504" y="1072"/>
                    <a:pt x="507" y="1070"/>
                    <a:pt x="509" y="1069"/>
                  </a:cubicBezTo>
                  <a:cubicBezTo>
                    <a:pt x="525" y="1069"/>
                    <a:pt x="539" y="1084"/>
                    <a:pt x="543" y="1095"/>
                  </a:cubicBezTo>
                  <a:cubicBezTo>
                    <a:pt x="547" y="1108"/>
                    <a:pt x="548" y="1115"/>
                    <a:pt x="568" y="1113"/>
                  </a:cubicBezTo>
                  <a:cubicBezTo>
                    <a:pt x="569" y="1112"/>
                    <a:pt x="568" y="1109"/>
                    <a:pt x="571" y="1110"/>
                  </a:cubicBezTo>
                  <a:cubicBezTo>
                    <a:pt x="580" y="1109"/>
                    <a:pt x="585" y="1116"/>
                    <a:pt x="592" y="1115"/>
                  </a:cubicBezTo>
                  <a:cubicBezTo>
                    <a:pt x="597" y="1115"/>
                    <a:pt x="604" y="1108"/>
                    <a:pt x="609" y="1115"/>
                  </a:cubicBezTo>
                  <a:cubicBezTo>
                    <a:pt x="610" y="1128"/>
                    <a:pt x="627" y="1131"/>
                    <a:pt x="629" y="1141"/>
                  </a:cubicBezTo>
                  <a:cubicBezTo>
                    <a:pt x="631" y="1149"/>
                    <a:pt x="623" y="1151"/>
                    <a:pt x="625" y="1162"/>
                  </a:cubicBezTo>
                  <a:cubicBezTo>
                    <a:pt x="623" y="1165"/>
                    <a:pt x="619" y="1166"/>
                    <a:pt x="617" y="1169"/>
                  </a:cubicBezTo>
                  <a:cubicBezTo>
                    <a:pt x="618" y="1175"/>
                    <a:pt x="623" y="1177"/>
                    <a:pt x="623" y="1184"/>
                  </a:cubicBezTo>
                  <a:cubicBezTo>
                    <a:pt x="622" y="1185"/>
                    <a:pt x="619" y="1184"/>
                    <a:pt x="618" y="1186"/>
                  </a:cubicBezTo>
                  <a:cubicBezTo>
                    <a:pt x="619" y="1196"/>
                    <a:pt x="616" y="1203"/>
                    <a:pt x="607" y="1203"/>
                  </a:cubicBezTo>
                  <a:cubicBezTo>
                    <a:pt x="608" y="1210"/>
                    <a:pt x="613" y="1213"/>
                    <a:pt x="618" y="1216"/>
                  </a:cubicBezTo>
                  <a:cubicBezTo>
                    <a:pt x="619" y="1219"/>
                    <a:pt x="617" y="1219"/>
                    <a:pt x="618" y="1222"/>
                  </a:cubicBezTo>
                  <a:cubicBezTo>
                    <a:pt x="622" y="1224"/>
                    <a:pt x="625" y="1227"/>
                    <a:pt x="626" y="1233"/>
                  </a:cubicBezTo>
                  <a:cubicBezTo>
                    <a:pt x="633" y="1233"/>
                    <a:pt x="632" y="1237"/>
                    <a:pt x="635" y="1240"/>
                  </a:cubicBezTo>
                  <a:cubicBezTo>
                    <a:pt x="637" y="1243"/>
                    <a:pt x="642" y="1244"/>
                    <a:pt x="643" y="1246"/>
                  </a:cubicBezTo>
                  <a:cubicBezTo>
                    <a:pt x="646" y="1249"/>
                    <a:pt x="646" y="1252"/>
                    <a:pt x="648" y="1255"/>
                  </a:cubicBezTo>
                  <a:cubicBezTo>
                    <a:pt x="653" y="1260"/>
                    <a:pt x="661" y="1262"/>
                    <a:pt x="666" y="1267"/>
                  </a:cubicBezTo>
                  <a:cubicBezTo>
                    <a:pt x="673" y="1274"/>
                    <a:pt x="674" y="1284"/>
                    <a:pt x="681" y="1291"/>
                  </a:cubicBezTo>
                  <a:cubicBezTo>
                    <a:pt x="681" y="1294"/>
                    <a:pt x="678" y="1293"/>
                    <a:pt x="679" y="1297"/>
                  </a:cubicBezTo>
                  <a:cubicBezTo>
                    <a:pt x="682" y="1301"/>
                    <a:pt x="688" y="1303"/>
                    <a:pt x="688" y="1311"/>
                  </a:cubicBezTo>
                  <a:cubicBezTo>
                    <a:pt x="693" y="1317"/>
                    <a:pt x="701" y="1320"/>
                    <a:pt x="700" y="1331"/>
                  </a:cubicBezTo>
                  <a:cubicBezTo>
                    <a:pt x="699" y="1335"/>
                    <a:pt x="695" y="1335"/>
                    <a:pt x="694" y="1339"/>
                  </a:cubicBezTo>
                  <a:cubicBezTo>
                    <a:pt x="696" y="1352"/>
                    <a:pt x="713" y="1360"/>
                    <a:pt x="712" y="1373"/>
                  </a:cubicBezTo>
                  <a:cubicBezTo>
                    <a:pt x="711" y="1378"/>
                    <a:pt x="705" y="1379"/>
                    <a:pt x="707" y="1385"/>
                  </a:cubicBezTo>
                  <a:cubicBezTo>
                    <a:pt x="697" y="1384"/>
                    <a:pt x="698" y="1394"/>
                    <a:pt x="689" y="1393"/>
                  </a:cubicBezTo>
                  <a:cubicBezTo>
                    <a:pt x="689" y="1403"/>
                    <a:pt x="684" y="1405"/>
                    <a:pt x="687" y="1415"/>
                  </a:cubicBezTo>
                  <a:cubicBezTo>
                    <a:pt x="680" y="1417"/>
                    <a:pt x="683" y="1423"/>
                    <a:pt x="677" y="1427"/>
                  </a:cubicBezTo>
                  <a:cubicBezTo>
                    <a:pt x="679" y="1436"/>
                    <a:pt x="676" y="1443"/>
                    <a:pt x="679" y="1451"/>
                  </a:cubicBezTo>
                  <a:cubicBezTo>
                    <a:pt x="683" y="1459"/>
                    <a:pt x="695" y="1464"/>
                    <a:pt x="704" y="1475"/>
                  </a:cubicBezTo>
                  <a:cubicBezTo>
                    <a:pt x="706" y="1477"/>
                    <a:pt x="706" y="1479"/>
                    <a:pt x="708" y="1481"/>
                  </a:cubicBezTo>
                  <a:cubicBezTo>
                    <a:pt x="712" y="1487"/>
                    <a:pt x="718" y="1489"/>
                    <a:pt x="721" y="1493"/>
                  </a:cubicBezTo>
                  <a:cubicBezTo>
                    <a:pt x="722" y="1494"/>
                    <a:pt x="721" y="1496"/>
                    <a:pt x="722" y="1497"/>
                  </a:cubicBezTo>
                  <a:cubicBezTo>
                    <a:pt x="726" y="1500"/>
                    <a:pt x="731" y="1499"/>
                    <a:pt x="733" y="1503"/>
                  </a:cubicBezTo>
                  <a:cubicBezTo>
                    <a:pt x="735" y="1508"/>
                    <a:pt x="733" y="1515"/>
                    <a:pt x="735" y="1521"/>
                  </a:cubicBezTo>
                  <a:cubicBezTo>
                    <a:pt x="736" y="1524"/>
                    <a:pt x="740" y="1527"/>
                    <a:pt x="741" y="1529"/>
                  </a:cubicBezTo>
                  <a:cubicBezTo>
                    <a:pt x="742" y="1530"/>
                    <a:pt x="740" y="1533"/>
                    <a:pt x="740" y="1534"/>
                  </a:cubicBezTo>
                  <a:cubicBezTo>
                    <a:pt x="741" y="1535"/>
                    <a:pt x="744" y="1541"/>
                    <a:pt x="744" y="1542"/>
                  </a:cubicBezTo>
                  <a:cubicBezTo>
                    <a:pt x="746" y="1545"/>
                    <a:pt x="751" y="1550"/>
                    <a:pt x="753" y="1552"/>
                  </a:cubicBezTo>
                  <a:cubicBezTo>
                    <a:pt x="762" y="1563"/>
                    <a:pt x="783" y="1564"/>
                    <a:pt x="783" y="1578"/>
                  </a:cubicBezTo>
                  <a:cubicBezTo>
                    <a:pt x="788" y="1583"/>
                    <a:pt x="799" y="1582"/>
                    <a:pt x="800" y="1592"/>
                  </a:cubicBezTo>
                  <a:cubicBezTo>
                    <a:pt x="800" y="1594"/>
                    <a:pt x="797" y="1594"/>
                    <a:pt x="794" y="1594"/>
                  </a:cubicBezTo>
                  <a:cubicBezTo>
                    <a:pt x="794" y="1599"/>
                    <a:pt x="800" y="1599"/>
                    <a:pt x="801" y="1604"/>
                  </a:cubicBezTo>
                  <a:cubicBezTo>
                    <a:pt x="808" y="1602"/>
                    <a:pt x="813" y="1607"/>
                    <a:pt x="820" y="1608"/>
                  </a:cubicBezTo>
                  <a:cubicBezTo>
                    <a:pt x="833" y="1609"/>
                    <a:pt x="848" y="1604"/>
                    <a:pt x="860" y="1603"/>
                  </a:cubicBezTo>
                  <a:cubicBezTo>
                    <a:pt x="881" y="1601"/>
                    <a:pt x="902" y="1604"/>
                    <a:pt x="921" y="1600"/>
                  </a:cubicBezTo>
                  <a:cubicBezTo>
                    <a:pt x="940" y="1597"/>
                    <a:pt x="954" y="1584"/>
                    <a:pt x="970" y="1580"/>
                  </a:cubicBezTo>
                  <a:cubicBezTo>
                    <a:pt x="984" y="1576"/>
                    <a:pt x="990" y="1567"/>
                    <a:pt x="1000" y="1562"/>
                  </a:cubicBezTo>
                  <a:cubicBezTo>
                    <a:pt x="1004" y="1559"/>
                    <a:pt x="1011" y="1559"/>
                    <a:pt x="1016" y="1556"/>
                  </a:cubicBezTo>
                  <a:cubicBezTo>
                    <a:pt x="1024" y="1552"/>
                    <a:pt x="1029" y="1542"/>
                    <a:pt x="1033" y="1535"/>
                  </a:cubicBezTo>
                  <a:cubicBezTo>
                    <a:pt x="1034" y="1532"/>
                    <a:pt x="1029" y="1534"/>
                    <a:pt x="1030" y="1530"/>
                  </a:cubicBezTo>
                  <a:cubicBezTo>
                    <a:pt x="1046" y="1521"/>
                    <a:pt x="1066" y="1516"/>
                    <a:pt x="1082" y="1507"/>
                  </a:cubicBezTo>
                  <a:cubicBezTo>
                    <a:pt x="1083" y="1504"/>
                    <a:pt x="1080" y="1504"/>
                    <a:pt x="1080" y="1501"/>
                  </a:cubicBezTo>
                  <a:cubicBezTo>
                    <a:pt x="1086" y="1499"/>
                    <a:pt x="1087" y="1493"/>
                    <a:pt x="1089" y="1487"/>
                  </a:cubicBezTo>
                  <a:cubicBezTo>
                    <a:pt x="1085" y="1486"/>
                    <a:pt x="1085" y="1482"/>
                    <a:pt x="1082" y="1479"/>
                  </a:cubicBezTo>
                  <a:cubicBezTo>
                    <a:pt x="1084" y="1478"/>
                    <a:pt x="1085" y="1476"/>
                    <a:pt x="1085" y="1474"/>
                  </a:cubicBezTo>
                  <a:cubicBezTo>
                    <a:pt x="1084" y="1472"/>
                    <a:pt x="1081" y="1472"/>
                    <a:pt x="1079" y="1471"/>
                  </a:cubicBezTo>
                  <a:cubicBezTo>
                    <a:pt x="1081" y="1463"/>
                    <a:pt x="1089" y="1464"/>
                    <a:pt x="1095" y="1460"/>
                  </a:cubicBezTo>
                  <a:cubicBezTo>
                    <a:pt x="1098" y="1458"/>
                    <a:pt x="1100" y="1454"/>
                    <a:pt x="1103" y="1451"/>
                  </a:cubicBezTo>
                  <a:cubicBezTo>
                    <a:pt x="1108" y="1449"/>
                    <a:pt x="1114" y="1448"/>
                    <a:pt x="1119" y="1445"/>
                  </a:cubicBezTo>
                  <a:cubicBezTo>
                    <a:pt x="1122" y="1442"/>
                    <a:pt x="1124" y="1437"/>
                    <a:pt x="1127" y="1434"/>
                  </a:cubicBezTo>
                  <a:cubicBezTo>
                    <a:pt x="1142" y="1423"/>
                    <a:pt x="1160" y="1422"/>
                    <a:pt x="1174" y="1412"/>
                  </a:cubicBezTo>
                  <a:cubicBezTo>
                    <a:pt x="1179" y="1409"/>
                    <a:pt x="1188" y="1400"/>
                    <a:pt x="1193" y="1395"/>
                  </a:cubicBezTo>
                  <a:cubicBezTo>
                    <a:pt x="1200" y="1387"/>
                    <a:pt x="1197" y="1383"/>
                    <a:pt x="1197" y="1373"/>
                  </a:cubicBezTo>
                  <a:cubicBezTo>
                    <a:pt x="1197" y="1369"/>
                    <a:pt x="1198" y="1363"/>
                    <a:pt x="1199" y="1360"/>
                  </a:cubicBezTo>
                  <a:cubicBezTo>
                    <a:pt x="1202" y="1350"/>
                    <a:pt x="1203" y="1342"/>
                    <a:pt x="1208" y="1331"/>
                  </a:cubicBezTo>
                  <a:cubicBezTo>
                    <a:pt x="1207" y="1325"/>
                    <a:pt x="1197" y="1327"/>
                    <a:pt x="1194" y="1323"/>
                  </a:cubicBezTo>
                  <a:cubicBezTo>
                    <a:pt x="1197" y="1312"/>
                    <a:pt x="1186" y="1305"/>
                    <a:pt x="1194" y="1299"/>
                  </a:cubicBezTo>
                  <a:cubicBezTo>
                    <a:pt x="1188" y="1292"/>
                    <a:pt x="1199" y="1289"/>
                    <a:pt x="1197" y="1281"/>
                  </a:cubicBezTo>
                  <a:cubicBezTo>
                    <a:pt x="1194" y="1279"/>
                    <a:pt x="1187" y="1280"/>
                    <a:pt x="1186" y="1276"/>
                  </a:cubicBezTo>
                  <a:cubicBezTo>
                    <a:pt x="1190" y="1267"/>
                    <a:pt x="1190" y="1259"/>
                    <a:pt x="1194" y="1251"/>
                  </a:cubicBezTo>
                  <a:cubicBezTo>
                    <a:pt x="1198" y="1245"/>
                    <a:pt x="1210" y="1240"/>
                    <a:pt x="1208" y="1230"/>
                  </a:cubicBezTo>
                  <a:cubicBezTo>
                    <a:pt x="1210" y="1227"/>
                    <a:pt x="1213" y="1224"/>
                    <a:pt x="1216" y="1222"/>
                  </a:cubicBezTo>
                  <a:cubicBezTo>
                    <a:pt x="1216" y="1219"/>
                    <a:pt x="1215" y="1219"/>
                    <a:pt x="1215" y="1216"/>
                  </a:cubicBezTo>
                  <a:cubicBezTo>
                    <a:pt x="1221" y="1213"/>
                    <a:pt x="1226" y="1209"/>
                    <a:pt x="1228" y="1202"/>
                  </a:cubicBezTo>
                  <a:cubicBezTo>
                    <a:pt x="1231" y="1202"/>
                    <a:pt x="1232" y="1200"/>
                    <a:pt x="1236" y="1200"/>
                  </a:cubicBezTo>
                  <a:cubicBezTo>
                    <a:pt x="1244" y="1193"/>
                    <a:pt x="1246" y="1183"/>
                    <a:pt x="1253" y="1175"/>
                  </a:cubicBezTo>
                  <a:cubicBezTo>
                    <a:pt x="1257" y="1170"/>
                    <a:pt x="1264" y="1167"/>
                    <a:pt x="1267" y="1163"/>
                  </a:cubicBezTo>
                  <a:cubicBezTo>
                    <a:pt x="1269" y="1160"/>
                    <a:pt x="1269" y="1157"/>
                    <a:pt x="1271" y="1154"/>
                  </a:cubicBezTo>
                  <a:cubicBezTo>
                    <a:pt x="1273" y="1152"/>
                    <a:pt x="1276" y="1151"/>
                    <a:pt x="1278" y="1149"/>
                  </a:cubicBezTo>
                  <a:cubicBezTo>
                    <a:pt x="1304" y="1121"/>
                    <a:pt x="1338" y="1099"/>
                    <a:pt x="1353" y="1061"/>
                  </a:cubicBezTo>
                  <a:cubicBezTo>
                    <a:pt x="1355" y="1054"/>
                    <a:pt x="1362" y="1049"/>
                    <a:pt x="1365" y="1042"/>
                  </a:cubicBezTo>
                  <a:cubicBezTo>
                    <a:pt x="1368" y="1037"/>
                    <a:pt x="1367" y="1031"/>
                    <a:pt x="1368" y="1025"/>
                  </a:cubicBezTo>
                  <a:cubicBezTo>
                    <a:pt x="1369" y="1021"/>
                    <a:pt x="1376" y="1015"/>
                    <a:pt x="1378" y="1007"/>
                  </a:cubicBezTo>
                  <a:cubicBezTo>
                    <a:pt x="1381" y="995"/>
                    <a:pt x="1382" y="986"/>
                    <a:pt x="1388" y="981"/>
                  </a:cubicBezTo>
                  <a:cubicBezTo>
                    <a:pt x="1388" y="974"/>
                    <a:pt x="1389" y="967"/>
                    <a:pt x="1387" y="961"/>
                  </a:cubicBezTo>
                  <a:cubicBezTo>
                    <a:pt x="1388" y="958"/>
                    <a:pt x="1391" y="958"/>
                    <a:pt x="1391" y="954"/>
                  </a:cubicBezTo>
                  <a:cubicBezTo>
                    <a:pt x="1390" y="946"/>
                    <a:pt x="1389" y="937"/>
                    <a:pt x="1392" y="931"/>
                  </a:cubicBezTo>
                  <a:cubicBezTo>
                    <a:pt x="1391" y="931"/>
                    <a:pt x="1390" y="930"/>
                    <a:pt x="1389" y="928"/>
                  </a:cubicBezTo>
                  <a:cubicBezTo>
                    <a:pt x="1386" y="928"/>
                    <a:pt x="1385" y="929"/>
                    <a:pt x="1382" y="929"/>
                  </a:cubicBezTo>
                  <a:cubicBezTo>
                    <a:pt x="1378" y="948"/>
                    <a:pt x="1351" y="944"/>
                    <a:pt x="1341" y="956"/>
                  </a:cubicBezTo>
                  <a:cubicBezTo>
                    <a:pt x="1338" y="957"/>
                    <a:pt x="1339" y="954"/>
                    <a:pt x="1336" y="954"/>
                  </a:cubicBezTo>
                  <a:cubicBezTo>
                    <a:pt x="1329" y="958"/>
                    <a:pt x="1326" y="965"/>
                    <a:pt x="1319" y="969"/>
                  </a:cubicBezTo>
                  <a:cubicBezTo>
                    <a:pt x="1316" y="968"/>
                    <a:pt x="1315" y="966"/>
                    <a:pt x="1311" y="967"/>
                  </a:cubicBezTo>
                  <a:cubicBezTo>
                    <a:pt x="1301" y="972"/>
                    <a:pt x="1295" y="982"/>
                    <a:pt x="1282" y="979"/>
                  </a:cubicBezTo>
                  <a:cubicBezTo>
                    <a:pt x="1273" y="977"/>
                    <a:pt x="1270" y="964"/>
                    <a:pt x="1261" y="963"/>
                  </a:cubicBezTo>
                  <a:cubicBezTo>
                    <a:pt x="1271" y="953"/>
                    <a:pt x="1263" y="938"/>
                    <a:pt x="1248" y="938"/>
                  </a:cubicBezTo>
                  <a:cubicBezTo>
                    <a:pt x="1248" y="935"/>
                    <a:pt x="1247" y="932"/>
                    <a:pt x="1245" y="929"/>
                  </a:cubicBezTo>
                  <a:cubicBezTo>
                    <a:pt x="1239" y="930"/>
                    <a:pt x="1236" y="927"/>
                    <a:pt x="1232" y="925"/>
                  </a:cubicBezTo>
                  <a:cubicBezTo>
                    <a:pt x="1230" y="922"/>
                    <a:pt x="1230" y="916"/>
                    <a:pt x="1227" y="914"/>
                  </a:cubicBezTo>
                  <a:cubicBezTo>
                    <a:pt x="1224" y="912"/>
                    <a:pt x="1222" y="913"/>
                    <a:pt x="1218" y="914"/>
                  </a:cubicBezTo>
                  <a:cubicBezTo>
                    <a:pt x="1216" y="913"/>
                    <a:pt x="1214" y="910"/>
                    <a:pt x="1211" y="909"/>
                  </a:cubicBezTo>
                  <a:cubicBezTo>
                    <a:pt x="1200" y="909"/>
                    <a:pt x="1191" y="903"/>
                    <a:pt x="1188" y="894"/>
                  </a:cubicBezTo>
                  <a:cubicBezTo>
                    <a:pt x="1186" y="888"/>
                    <a:pt x="1188" y="882"/>
                    <a:pt x="1186" y="877"/>
                  </a:cubicBezTo>
                  <a:cubicBezTo>
                    <a:pt x="1181" y="865"/>
                    <a:pt x="1173" y="858"/>
                    <a:pt x="1162" y="853"/>
                  </a:cubicBezTo>
                  <a:cubicBezTo>
                    <a:pt x="1161" y="852"/>
                    <a:pt x="1162" y="848"/>
                    <a:pt x="1159" y="849"/>
                  </a:cubicBezTo>
                  <a:cubicBezTo>
                    <a:pt x="1156" y="846"/>
                    <a:pt x="1152" y="850"/>
                    <a:pt x="1149" y="848"/>
                  </a:cubicBezTo>
                  <a:cubicBezTo>
                    <a:pt x="1149" y="833"/>
                    <a:pt x="1138" y="819"/>
                    <a:pt x="1142" y="805"/>
                  </a:cubicBezTo>
                  <a:cubicBezTo>
                    <a:pt x="1140" y="802"/>
                    <a:pt x="1136" y="801"/>
                    <a:pt x="1135" y="797"/>
                  </a:cubicBezTo>
                  <a:cubicBezTo>
                    <a:pt x="1135" y="784"/>
                    <a:pt x="1124" y="781"/>
                    <a:pt x="1114" y="778"/>
                  </a:cubicBezTo>
                  <a:cubicBezTo>
                    <a:pt x="1108" y="772"/>
                    <a:pt x="1104" y="760"/>
                    <a:pt x="1106" y="753"/>
                  </a:cubicBezTo>
                  <a:cubicBezTo>
                    <a:pt x="1094" y="749"/>
                    <a:pt x="1092" y="733"/>
                    <a:pt x="1084" y="723"/>
                  </a:cubicBezTo>
                  <a:cubicBezTo>
                    <a:pt x="1080" y="718"/>
                    <a:pt x="1074" y="715"/>
                    <a:pt x="1072" y="709"/>
                  </a:cubicBezTo>
                  <a:cubicBezTo>
                    <a:pt x="1070" y="706"/>
                    <a:pt x="1071" y="703"/>
                    <a:pt x="1070" y="700"/>
                  </a:cubicBezTo>
                  <a:cubicBezTo>
                    <a:pt x="1067" y="695"/>
                    <a:pt x="1059" y="696"/>
                    <a:pt x="1060" y="689"/>
                  </a:cubicBezTo>
                  <a:cubicBezTo>
                    <a:pt x="1064" y="692"/>
                    <a:pt x="1066" y="696"/>
                    <a:pt x="1074" y="695"/>
                  </a:cubicBezTo>
                  <a:cubicBezTo>
                    <a:pt x="1075" y="687"/>
                    <a:pt x="1067" y="675"/>
                    <a:pt x="1074" y="670"/>
                  </a:cubicBezTo>
                  <a:cubicBezTo>
                    <a:pt x="1074" y="687"/>
                    <a:pt x="1082" y="694"/>
                    <a:pt x="1096" y="697"/>
                  </a:cubicBezTo>
                  <a:cubicBezTo>
                    <a:pt x="1099" y="702"/>
                    <a:pt x="1101" y="710"/>
                    <a:pt x="1106" y="715"/>
                  </a:cubicBezTo>
                  <a:cubicBezTo>
                    <a:pt x="1111" y="721"/>
                    <a:pt x="1117" y="722"/>
                    <a:pt x="1122" y="726"/>
                  </a:cubicBezTo>
                  <a:cubicBezTo>
                    <a:pt x="1127" y="731"/>
                    <a:pt x="1127" y="739"/>
                    <a:pt x="1131" y="746"/>
                  </a:cubicBezTo>
                  <a:cubicBezTo>
                    <a:pt x="1136" y="754"/>
                    <a:pt x="1143" y="749"/>
                    <a:pt x="1150" y="751"/>
                  </a:cubicBezTo>
                  <a:cubicBezTo>
                    <a:pt x="1174" y="756"/>
                    <a:pt x="1166" y="802"/>
                    <a:pt x="1188" y="811"/>
                  </a:cubicBezTo>
                  <a:cubicBezTo>
                    <a:pt x="1191" y="811"/>
                    <a:pt x="1193" y="810"/>
                    <a:pt x="1197" y="810"/>
                  </a:cubicBezTo>
                  <a:cubicBezTo>
                    <a:pt x="1201" y="812"/>
                    <a:pt x="1206" y="818"/>
                    <a:pt x="1210" y="823"/>
                  </a:cubicBezTo>
                  <a:cubicBezTo>
                    <a:pt x="1215" y="829"/>
                    <a:pt x="1221" y="838"/>
                    <a:pt x="1228" y="847"/>
                  </a:cubicBezTo>
                  <a:cubicBezTo>
                    <a:pt x="1240" y="860"/>
                    <a:pt x="1255" y="866"/>
                    <a:pt x="1246" y="889"/>
                  </a:cubicBezTo>
                  <a:cubicBezTo>
                    <a:pt x="1256" y="893"/>
                    <a:pt x="1257" y="910"/>
                    <a:pt x="1254" y="923"/>
                  </a:cubicBezTo>
                  <a:cubicBezTo>
                    <a:pt x="1259" y="927"/>
                    <a:pt x="1264" y="932"/>
                    <a:pt x="1267" y="938"/>
                  </a:cubicBezTo>
                  <a:cubicBezTo>
                    <a:pt x="1274" y="939"/>
                    <a:pt x="1283" y="939"/>
                    <a:pt x="1289" y="935"/>
                  </a:cubicBezTo>
                  <a:cubicBezTo>
                    <a:pt x="1293" y="931"/>
                    <a:pt x="1293" y="921"/>
                    <a:pt x="1299" y="921"/>
                  </a:cubicBezTo>
                  <a:cubicBezTo>
                    <a:pt x="1311" y="920"/>
                    <a:pt x="1318" y="917"/>
                    <a:pt x="1325" y="914"/>
                  </a:cubicBezTo>
                  <a:cubicBezTo>
                    <a:pt x="1329" y="912"/>
                    <a:pt x="1333" y="912"/>
                    <a:pt x="1336" y="911"/>
                  </a:cubicBezTo>
                  <a:cubicBezTo>
                    <a:pt x="1340" y="908"/>
                    <a:pt x="1343" y="900"/>
                    <a:pt x="1348" y="895"/>
                  </a:cubicBezTo>
                  <a:cubicBezTo>
                    <a:pt x="1356" y="887"/>
                    <a:pt x="1362" y="882"/>
                    <a:pt x="1370" y="875"/>
                  </a:cubicBezTo>
                  <a:cubicBezTo>
                    <a:pt x="1377" y="868"/>
                    <a:pt x="1382" y="864"/>
                    <a:pt x="1393" y="863"/>
                  </a:cubicBezTo>
                  <a:cubicBezTo>
                    <a:pt x="1396" y="838"/>
                    <a:pt x="1419" y="832"/>
                    <a:pt x="1434" y="818"/>
                  </a:cubicBezTo>
                  <a:cubicBezTo>
                    <a:pt x="1434" y="814"/>
                    <a:pt x="1433" y="812"/>
                    <a:pt x="1433" y="808"/>
                  </a:cubicBezTo>
                  <a:cubicBezTo>
                    <a:pt x="1439" y="803"/>
                    <a:pt x="1449" y="801"/>
                    <a:pt x="1447" y="788"/>
                  </a:cubicBezTo>
                  <a:cubicBezTo>
                    <a:pt x="1455" y="782"/>
                    <a:pt x="1457" y="771"/>
                    <a:pt x="1455" y="757"/>
                  </a:cubicBezTo>
                  <a:cubicBezTo>
                    <a:pt x="1459" y="758"/>
                    <a:pt x="1461" y="756"/>
                    <a:pt x="1463" y="755"/>
                  </a:cubicBezTo>
                  <a:cubicBezTo>
                    <a:pt x="1460" y="738"/>
                    <a:pt x="1475" y="729"/>
                    <a:pt x="1466" y="712"/>
                  </a:cubicBezTo>
                  <a:cubicBezTo>
                    <a:pt x="1457" y="713"/>
                    <a:pt x="1454" y="700"/>
                    <a:pt x="1447" y="697"/>
                  </a:cubicBezTo>
                  <a:cubicBezTo>
                    <a:pt x="1437" y="692"/>
                    <a:pt x="1426" y="699"/>
                    <a:pt x="1417" y="693"/>
                  </a:cubicBezTo>
                  <a:cubicBezTo>
                    <a:pt x="1406" y="686"/>
                    <a:pt x="1409" y="668"/>
                    <a:pt x="1401" y="658"/>
                  </a:cubicBezTo>
                  <a:cubicBezTo>
                    <a:pt x="1400" y="677"/>
                    <a:pt x="1385" y="685"/>
                    <a:pt x="1387" y="706"/>
                  </a:cubicBezTo>
                  <a:cubicBezTo>
                    <a:pt x="1381" y="709"/>
                    <a:pt x="1377" y="706"/>
                    <a:pt x="1370" y="707"/>
                  </a:cubicBezTo>
                  <a:cubicBezTo>
                    <a:pt x="1365" y="709"/>
                    <a:pt x="1362" y="716"/>
                    <a:pt x="1358" y="715"/>
                  </a:cubicBezTo>
                  <a:cubicBezTo>
                    <a:pt x="1340" y="714"/>
                    <a:pt x="1363" y="674"/>
                    <a:pt x="1338" y="679"/>
                  </a:cubicBezTo>
                  <a:cubicBezTo>
                    <a:pt x="1335" y="685"/>
                    <a:pt x="1344" y="697"/>
                    <a:pt x="1338" y="703"/>
                  </a:cubicBezTo>
                  <a:cubicBezTo>
                    <a:pt x="1334" y="690"/>
                    <a:pt x="1318" y="689"/>
                    <a:pt x="1317" y="673"/>
                  </a:cubicBezTo>
                  <a:cubicBezTo>
                    <a:pt x="1310" y="669"/>
                    <a:pt x="1298" y="668"/>
                    <a:pt x="1298" y="657"/>
                  </a:cubicBezTo>
                  <a:cubicBezTo>
                    <a:pt x="1293" y="654"/>
                    <a:pt x="1290" y="651"/>
                    <a:pt x="1289" y="645"/>
                  </a:cubicBezTo>
                  <a:cubicBezTo>
                    <a:pt x="1284" y="643"/>
                    <a:pt x="1278" y="641"/>
                    <a:pt x="1277" y="635"/>
                  </a:cubicBezTo>
                  <a:cubicBezTo>
                    <a:pt x="1278" y="634"/>
                    <a:pt x="1283" y="635"/>
                    <a:pt x="1285" y="634"/>
                  </a:cubicBezTo>
                  <a:cubicBezTo>
                    <a:pt x="1285" y="627"/>
                    <a:pt x="1285" y="627"/>
                    <a:pt x="1285" y="627"/>
                  </a:cubicBezTo>
                  <a:cubicBezTo>
                    <a:pt x="1290" y="627"/>
                    <a:pt x="1290" y="627"/>
                    <a:pt x="1290" y="627"/>
                  </a:cubicBezTo>
                  <a:cubicBezTo>
                    <a:pt x="1288" y="610"/>
                    <a:pt x="1299" y="620"/>
                    <a:pt x="1306" y="626"/>
                  </a:cubicBezTo>
                  <a:cubicBezTo>
                    <a:pt x="1316" y="635"/>
                    <a:pt x="1327" y="651"/>
                    <a:pt x="1336" y="657"/>
                  </a:cubicBezTo>
                  <a:cubicBezTo>
                    <a:pt x="1352" y="644"/>
                    <a:pt x="1362" y="667"/>
                    <a:pt x="1380" y="666"/>
                  </a:cubicBezTo>
                  <a:cubicBezTo>
                    <a:pt x="1388" y="661"/>
                    <a:pt x="1393" y="652"/>
                    <a:pt x="1401" y="647"/>
                  </a:cubicBezTo>
                  <a:cubicBezTo>
                    <a:pt x="1408" y="652"/>
                    <a:pt x="1412" y="659"/>
                    <a:pt x="1416" y="666"/>
                  </a:cubicBezTo>
                  <a:cubicBezTo>
                    <a:pt x="1429" y="670"/>
                    <a:pt x="1436" y="663"/>
                    <a:pt x="1448" y="668"/>
                  </a:cubicBezTo>
                  <a:cubicBezTo>
                    <a:pt x="1451" y="668"/>
                    <a:pt x="1450" y="664"/>
                    <a:pt x="1455" y="665"/>
                  </a:cubicBezTo>
                  <a:cubicBezTo>
                    <a:pt x="1464" y="670"/>
                    <a:pt x="1468" y="663"/>
                    <a:pt x="1474" y="659"/>
                  </a:cubicBezTo>
                  <a:cubicBezTo>
                    <a:pt x="1479" y="657"/>
                    <a:pt x="1486" y="658"/>
                    <a:pt x="1486" y="652"/>
                  </a:cubicBezTo>
                  <a:cubicBezTo>
                    <a:pt x="1495" y="653"/>
                    <a:pt x="1501" y="644"/>
                    <a:pt x="1508" y="640"/>
                  </a:cubicBezTo>
                  <a:cubicBezTo>
                    <a:pt x="1514" y="642"/>
                    <a:pt x="1516" y="648"/>
                    <a:pt x="1519" y="653"/>
                  </a:cubicBezTo>
                  <a:cubicBezTo>
                    <a:pt x="1523" y="653"/>
                    <a:pt x="1526" y="651"/>
                    <a:pt x="1531" y="652"/>
                  </a:cubicBezTo>
                  <a:cubicBezTo>
                    <a:pt x="1532" y="655"/>
                    <a:pt x="1535" y="657"/>
                    <a:pt x="1536" y="659"/>
                  </a:cubicBezTo>
                  <a:cubicBezTo>
                    <a:pt x="1539" y="659"/>
                    <a:pt x="1541" y="658"/>
                    <a:pt x="1544" y="659"/>
                  </a:cubicBezTo>
                  <a:cubicBezTo>
                    <a:pt x="1545" y="662"/>
                    <a:pt x="1546" y="664"/>
                    <a:pt x="1547" y="667"/>
                  </a:cubicBezTo>
                  <a:cubicBezTo>
                    <a:pt x="1555" y="671"/>
                    <a:pt x="1559" y="664"/>
                    <a:pt x="1562" y="659"/>
                  </a:cubicBezTo>
                  <a:cubicBezTo>
                    <a:pt x="1566" y="671"/>
                    <a:pt x="1552" y="672"/>
                    <a:pt x="1553" y="682"/>
                  </a:cubicBezTo>
                  <a:cubicBezTo>
                    <a:pt x="1553" y="687"/>
                    <a:pt x="1566" y="695"/>
                    <a:pt x="1571" y="697"/>
                  </a:cubicBezTo>
                  <a:cubicBezTo>
                    <a:pt x="1592" y="705"/>
                    <a:pt x="1580" y="671"/>
                    <a:pt x="1586" y="661"/>
                  </a:cubicBezTo>
                  <a:cubicBezTo>
                    <a:pt x="1587" y="667"/>
                    <a:pt x="1585" y="672"/>
                    <a:pt x="1585" y="677"/>
                  </a:cubicBezTo>
                  <a:cubicBezTo>
                    <a:pt x="1587" y="680"/>
                    <a:pt x="1590" y="681"/>
                    <a:pt x="1592" y="683"/>
                  </a:cubicBezTo>
                  <a:cubicBezTo>
                    <a:pt x="1595" y="712"/>
                    <a:pt x="1602" y="735"/>
                    <a:pt x="1614" y="755"/>
                  </a:cubicBezTo>
                  <a:cubicBezTo>
                    <a:pt x="1614" y="758"/>
                    <a:pt x="1614" y="760"/>
                    <a:pt x="1615" y="762"/>
                  </a:cubicBezTo>
                  <a:cubicBezTo>
                    <a:pt x="1616" y="764"/>
                    <a:pt x="1619" y="763"/>
                    <a:pt x="1621" y="765"/>
                  </a:cubicBezTo>
                  <a:cubicBezTo>
                    <a:pt x="1621" y="772"/>
                    <a:pt x="1625" y="776"/>
                    <a:pt x="1629" y="779"/>
                  </a:cubicBezTo>
                  <a:cubicBezTo>
                    <a:pt x="1628" y="802"/>
                    <a:pt x="1645" y="814"/>
                    <a:pt x="1647" y="830"/>
                  </a:cubicBezTo>
                  <a:cubicBezTo>
                    <a:pt x="1648" y="844"/>
                    <a:pt x="1651" y="853"/>
                    <a:pt x="1658" y="862"/>
                  </a:cubicBezTo>
                  <a:cubicBezTo>
                    <a:pt x="1663" y="856"/>
                    <a:pt x="1660" y="849"/>
                    <a:pt x="1661" y="842"/>
                  </a:cubicBezTo>
                  <a:cubicBezTo>
                    <a:pt x="1662" y="838"/>
                    <a:pt x="1665" y="835"/>
                    <a:pt x="1666" y="831"/>
                  </a:cubicBezTo>
                  <a:cubicBezTo>
                    <a:pt x="1666" y="830"/>
                    <a:pt x="1665" y="827"/>
                    <a:pt x="1665" y="825"/>
                  </a:cubicBezTo>
                  <a:cubicBezTo>
                    <a:pt x="1665" y="820"/>
                    <a:pt x="1669" y="814"/>
                    <a:pt x="1669" y="810"/>
                  </a:cubicBezTo>
                  <a:cubicBezTo>
                    <a:pt x="1669" y="804"/>
                    <a:pt x="1665" y="794"/>
                    <a:pt x="1664" y="783"/>
                  </a:cubicBezTo>
                  <a:close/>
                  <a:moveTo>
                    <a:pt x="911" y="465"/>
                  </a:moveTo>
                  <a:cubicBezTo>
                    <a:pt x="918" y="465"/>
                    <a:pt x="918" y="465"/>
                    <a:pt x="918" y="465"/>
                  </a:cubicBezTo>
                  <a:cubicBezTo>
                    <a:pt x="918" y="468"/>
                    <a:pt x="910" y="471"/>
                    <a:pt x="911" y="465"/>
                  </a:cubicBezTo>
                  <a:close/>
                  <a:moveTo>
                    <a:pt x="923" y="465"/>
                  </a:moveTo>
                  <a:cubicBezTo>
                    <a:pt x="924" y="455"/>
                    <a:pt x="940" y="454"/>
                    <a:pt x="947" y="459"/>
                  </a:cubicBezTo>
                  <a:cubicBezTo>
                    <a:pt x="947" y="468"/>
                    <a:pt x="931" y="466"/>
                    <a:pt x="923" y="465"/>
                  </a:cubicBezTo>
                  <a:close/>
                  <a:moveTo>
                    <a:pt x="1059" y="449"/>
                  </a:moveTo>
                  <a:cubicBezTo>
                    <a:pt x="1056" y="449"/>
                    <a:pt x="1055" y="446"/>
                    <a:pt x="1052" y="444"/>
                  </a:cubicBezTo>
                  <a:cubicBezTo>
                    <a:pt x="1049" y="444"/>
                    <a:pt x="1048" y="446"/>
                    <a:pt x="1045" y="445"/>
                  </a:cubicBezTo>
                  <a:cubicBezTo>
                    <a:pt x="1041" y="445"/>
                    <a:pt x="1041" y="441"/>
                    <a:pt x="1038" y="440"/>
                  </a:cubicBezTo>
                  <a:cubicBezTo>
                    <a:pt x="1035" y="439"/>
                    <a:pt x="1033" y="441"/>
                    <a:pt x="1030" y="442"/>
                  </a:cubicBezTo>
                  <a:cubicBezTo>
                    <a:pt x="1026" y="440"/>
                    <a:pt x="1024" y="437"/>
                    <a:pt x="1021" y="435"/>
                  </a:cubicBezTo>
                  <a:cubicBezTo>
                    <a:pt x="1015" y="442"/>
                    <a:pt x="1008" y="436"/>
                    <a:pt x="1001" y="437"/>
                  </a:cubicBezTo>
                  <a:cubicBezTo>
                    <a:pt x="990" y="438"/>
                    <a:pt x="981" y="446"/>
                    <a:pt x="976" y="453"/>
                  </a:cubicBezTo>
                  <a:cubicBezTo>
                    <a:pt x="959" y="454"/>
                    <a:pt x="951" y="450"/>
                    <a:pt x="934" y="450"/>
                  </a:cubicBezTo>
                  <a:cubicBezTo>
                    <a:pt x="931" y="445"/>
                    <a:pt x="929" y="437"/>
                    <a:pt x="924" y="433"/>
                  </a:cubicBezTo>
                  <a:cubicBezTo>
                    <a:pt x="925" y="429"/>
                    <a:pt x="927" y="425"/>
                    <a:pt x="925" y="420"/>
                  </a:cubicBezTo>
                  <a:cubicBezTo>
                    <a:pt x="927" y="419"/>
                    <a:pt x="929" y="418"/>
                    <a:pt x="932" y="419"/>
                  </a:cubicBezTo>
                  <a:cubicBezTo>
                    <a:pt x="930" y="406"/>
                    <a:pt x="932" y="395"/>
                    <a:pt x="944" y="395"/>
                  </a:cubicBezTo>
                  <a:cubicBezTo>
                    <a:pt x="945" y="389"/>
                    <a:pt x="942" y="388"/>
                    <a:pt x="942" y="383"/>
                  </a:cubicBezTo>
                  <a:cubicBezTo>
                    <a:pt x="950" y="377"/>
                    <a:pt x="951" y="363"/>
                    <a:pt x="968" y="365"/>
                  </a:cubicBezTo>
                  <a:cubicBezTo>
                    <a:pt x="971" y="368"/>
                    <a:pt x="966" y="366"/>
                    <a:pt x="966" y="370"/>
                  </a:cubicBezTo>
                  <a:cubicBezTo>
                    <a:pt x="971" y="376"/>
                    <a:pt x="981" y="370"/>
                    <a:pt x="987" y="374"/>
                  </a:cubicBezTo>
                  <a:cubicBezTo>
                    <a:pt x="985" y="379"/>
                    <a:pt x="979" y="379"/>
                    <a:pt x="978" y="384"/>
                  </a:cubicBezTo>
                  <a:cubicBezTo>
                    <a:pt x="982" y="386"/>
                    <a:pt x="988" y="386"/>
                    <a:pt x="991" y="389"/>
                  </a:cubicBezTo>
                  <a:cubicBezTo>
                    <a:pt x="991" y="392"/>
                    <a:pt x="990" y="396"/>
                    <a:pt x="992" y="397"/>
                  </a:cubicBezTo>
                  <a:cubicBezTo>
                    <a:pt x="993" y="399"/>
                    <a:pt x="996" y="398"/>
                    <a:pt x="998" y="399"/>
                  </a:cubicBezTo>
                  <a:cubicBezTo>
                    <a:pt x="1001" y="393"/>
                    <a:pt x="1013" y="396"/>
                    <a:pt x="1014" y="387"/>
                  </a:cubicBezTo>
                  <a:cubicBezTo>
                    <a:pt x="1016" y="388"/>
                    <a:pt x="1019" y="389"/>
                    <a:pt x="1023" y="389"/>
                  </a:cubicBezTo>
                  <a:cubicBezTo>
                    <a:pt x="1025" y="388"/>
                    <a:pt x="1025" y="384"/>
                    <a:pt x="1027" y="382"/>
                  </a:cubicBezTo>
                  <a:cubicBezTo>
                    <a:pt x="1017" y="381"/>
                    <a:pt x="1005" y="384"/>
                    <a:pt x="999" y="373"/>
                  </a:cubicBezTo>
                  <a:cubicBezTo>
                    <a:pt x="1005" y="364"/>
                    <a:pt x="1021" y="365"/>
                    <a:pt x="1027" y="356"/>
                  </a:cubicBezTo>
                  <a:cubicBezTo>
                    <a:pt x="1035" y="358"/>
                    <a:pt x="1039" y="350"/>
                    <a:pt x="1047" y="353"/>
                  </a:cubicBezTo>
                  <a:cubicBezTo>
                    <a:pt x="1045" y="358"/>
                    <a:pt x="1040" y="360"/>
                    <a:pt x="1035" y="362"/>
                  </a:cubicBezTo>
                  <a:cubicBezTo>
                    <a:pt x="1036" y="366"/>
                    <a:pt x="1039" y="366"/>
                    <a:pt x="1042" y="368"/>
                  </a:cubicBezTo>
                  <a:cubicBezTo>
                    <a:pt x="1038" y="370"/>
                    <a:pt x="1040" y="378"/>
                    <a:pt x="1037" y="382"/>
                  </a:cubicBezTo>
                  <a:cubicBezTo>
                    <a:pt x="1033" y="383"/>
                    <a:pt x="1033" y="379"/>
                    <a:pt x="1029" y="380"/>
                  </a:cubicBezTo>
                  <a:cubicBezTo>
                    <a:pt x="1029" y="388"/>
                    <a:pt x="1037" y="388"/>
                    <a:pt x="1040" y="393"/>
                  </a:cubicBezTo>
                  <a:cubicBezTo>
                    <a:pt x="1049" y="391"/>
                    <a:pt x="1049" y="398"/>
                    <a:pt x="1058" y="396"/>
                  </a:cubicBezTo>
                  <a:cubicBezTo>
                    <a:pt x="1067" y="408"/>
                    <a:pt x="1087" y="411"/>
                    <a:pt x="1099" y="418"/>
                  </a:cubicBezTo>
                  <a:cubicBezTo>
                    <a:pt x="1105" y="421"/>
                    <a:pt x="1106" y="431"/>
                    <a:pt x="1112" y="436"/>
                  </a:cubicBezTo>
                  <a:cubicBezTo>
                    <a:pt x="1106" y="454"/>
                    <a:pt x="1075" y="450"/>
                    <a:pt x="1059" y="449"/>
                  </a:cubicBezTo>
                  <a:close/>
                  <a:moveTo>
                    <a:pt x="1104" y="91"/>
                  </a:moveTo>
                  <a:cubicBezTo>
                    <a:pt x="1108" y="89"/>
                    <a:pt x="1112" y="93"/>
                    <a:pt x="1115" y="94"/>
                  </a:cubicBezTo>
                  <a:cubicBezTo>
                    <a:pt x="1112" y="96"/>
                    <a:pt x="1108" y="92"/>
                    <a:pt x="1104" y="91"/>
                  </a:cubicBezTo>
                  <a:close/>
                  <a:moveTo>
                    <a:pt x="215" y="250"/>
                  </a:moveTo>
                  <a:cubicBezTo>
                    <a:pt x="215" y="251"/>
                    <a:pt x="214" y="252"/>
                    <a:pt x="215" y="252"/>
                  </a:cubicBezTo>
                  <a:cubicBezTo>
                    <a:pt x="217" y="250"/>
                    <a:pt x="221" y="244"/>
                    <a:pt x="217" y="245"/>
                  </a:cubicBezTo>
                  <a:cubicBezTo>
                    <a:pt x="222" y="239"/>
                    <a:pt x="233" y="233"/>
                    <a:pt x="233" y="227"/>
                  </a:cubicBezTo>
                  <a:cubicBezTo>
                    <a:pt x="238" y="227"/>
                    <a:pt x="246" y="222"/>
                    <a:pt x="248" y="214"/>
                  </a:cubicBezTo>
                  <a:cubicBezTo>
                    <a:pt x="246" y="214"/>
                    <a:pt x="243" y="217"/>
                    <a:pt x="242" y="215"/>
                  </a:cubicBezTo>
                  <a:cubicBezTo>
                    <a:pt x="248" y="212"/>
                    <a:pt x="251" y="208"/>
                    <a:pt x="258" y="206"/>
                  </a:cubicBezTo>
                  <a:cubicBezTo>
                    <a:pt x="260" y="209"/>
                    <a:pt x="257" y="213"/>
                    <a:pt x="257" y="216"/>
                  </a:cubicBezTo>
                  <a:cubicBezTo>
                    <a:pt x="262" y="217"/>
                    <a:pt x="268" y="210"/>
                    <a:pt x="274" y="208"/>
                  </a:cubicBezTo>
                  <a:cubicBezTo>
                    <a:pt x="277" y="207"/>
                    <a:pt x="283" y="209"/>
                    <a:pt x="287" y="206"/>
                  </a:cubicBezTo>
                  <a:cubicBezTo>
                    <a:pt x="288" y="206"/>
                    <a:pt x="290" y="202"/>
                    <a:pt x="292" y="201"/>
                  </a:cubicBezTo>
                  <a:cubicBezTo>
                    <a:pt x="297" y="196"/>
                    <a:pt x="310" y="191"/>
                    <a:pt x="305" y="187"/>
                  </a:cubicBezTo>
                  <a:cubicBezTo>
                    <a:pt x="309" y="187"/>
                    <a:pt x="308" y="182"/>
                    <a:pt x="311" y="180"/>
                  </a:cubicBezTo>
                  <a:cubicBezTo>
                    <a:pt x="313" y="181"/>
                    <a:pt x="313" y="182"/>
                    <a:pt x="314" y="181"/>
                  </a:cubicBezTo>
                  <a:cubicBezTo>
                    <a:pt x="323" y="157"/>
                    <a:pt x="359" y="143"/>
                    <a:pt x="376" y="124"/>
                  </a:cubicBezTo>
                  <a:cubicBezTo>
                    <a:pt x="369" y="128"/>
                    <a:pt x="360" y="131"/>
                    <a:pt x="353" y="134"/>
                  </a:cubicBezTo>
                  <a:cubicBezTo>
                    <a:pt x="361" y="124"/>
                    <a:pt x="378" y="117"/>
                    <a:pt x="387" y="108"/>
                  </a:cubicBezTo>
                  <a:cubicBezTo>
                    <a:pt x="396" y="101"/>
                    <a:pt x="401" y="100"/>
                    <a:pt x="400" y="94"/>
                  </a:cubicBezTo>
                  <a:cubicBezTo>
                    <a:pt x="322" y="137"/>
                    <a:pt x="252" y="193"/>
                    <a:pt x="200" y="258"/>
                  </a:cubicBezTo>
                  <a:cubicBezTo>
                    <a:pt x="202" y="257"/>
                    <a:pt x="206" y="253"/>
                    <a:pt x="208" y="254"/>
                  </a:cubicBezTo>
                  <a:cubicBezTo>
                    <a:pt x="203" y="260"/>
                    <a:pt x="192" y="264"/>
                    <a:pt x="192" y="271"/>
                  </a:cubicBezTo>
                  <a:cubicBezTo>
                    <a:pt x="194" y="265"/>
                    <a:pt x="199" y="268"/>
                    <a:pt x="203" y="266"/>
                  </a:cubicBezTo>
                  <a:cubicBezTo>
                    <a:pt x="210" y="262"/>
                    <a:pt x="210" y="255"/>
                    <a:pt x="215" y="250"/>
                  </a:cubicBezTo>
                  <a:close/>
                  <a:moveTo>
                    <a:pt x="63" y="1119"/>
                  </a:moveTo>
                  <a:cubicBezTo>
                    <a:pt x="63" y="1103"/>
                    <a:pt x="54" y="1079"/>
                    <a:pt x="50" y="1063"/>
                  </a:cubicBezTo>
                  <a:cubicBezTo>
                    <a:pt x="48" y="1055"/>
                    <a:pt x="40" y="1047"/>
                    <a:pt x="37" y="1040"/>
                  </a:cubicBezTo>
                  <a:cubicBezTo>
                    <a:pt x="33" y="1032"/>
                    <a:pt x="30" y="1023"/>
                    <a:pt x="27" y="1015"/>
                  </a:cubicBezTo>
                  <a:cubicBezTo>
                    <a:pt x="21" y="998"/>
                    <a:pt x="12" y="982"/>
                    <a:pt x="8" y="967"/>
                  </a:cubicBezTo>
                  <a:cubicBezTo>
                    <a:pt x="7" y="962"/>
                    <a:pt x="6" y="954"/>
                    <a:pt x="5" y="947"/>
                  </a:cubicBezTo>
                  <a:cubicBezTo>
                    <a:pt x="4" y="944"/>
                    <a:pt x="0" y="929"/>
                    <a:pt x="1" y="934"/>
                  </a:cubicBezTo>
                  <a:cubicBezTo>
                    <a:pt x="15" y="1040"/>
                    <a:pt x="48" y="1132"/>
                    <a:pt x="89" y="1208"/>
                  </a:cubicBezTo>
                  <a:cubicBezTo>
                    <a:pt x="80" y="1183"/>
                    <a:pt x="62" y="1159"/>
                    <a:pt x="61" y="1131"/>
                  </a:cubicBezTo>
                  <a:cubicBezTo>
                    <a:pt x="61" y="1127"/>
                    <a:pt x="63" y="1123"/>
                    <a:pt x="63" y="1119"/>
                  </a:cubicBezTo>
                  <a:close/>
                  <a:moveTo>
                    <a:pt x="585" y="5"/>
                  </a:moveTo>
                  <a:cubicBezTo>
                    <a:pt x="584" y="5"/>
                    <a:pt x="583" y="5"/>
                    <a:pt x="583" y="4"/>
                  </a:cubicBezTo>
                  <a:cubicBezTo>
                    <a:pt x="584" y="4"/>
                    <a:pt x="585" y="4"/>
                    <a:pt x="585" y="3"/>
                  </a:cubicBezTo>
                  <a:cubicBezTo>
                    <a:pt x="581" y="3"/>
                    <a:pt x="578" y="3"/>
                    <a:pt x="577" y="6"/>
                  </a:cubicBezTo>
                  <a:cubicBezTo>
                    <a:pt x="580" y="7"/>
                    <a:pt x="584" y="7"/>
                    <a:pt x="585" y="5"/>
                  </a:cubicBez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53" name="Group 15" descr="© INSCALE GmbH, 15.06.2010"/>
          <p:cNvGrpSpPr>
            <a:grpSpLocks/>
          </p:cNvGrpSpPr>
          <p:nvPr/>
        </p:nvGrpSpPr>
        <p:grpSpPr bwMode="auto">
          <a:xfrm>
            <a:off x="6369239" y="1445219"/>
            <a:ext cx="677228" cy="542925"/>
            <a:chOff x="3726" y="2179"/>
            <a:chExt cx="474" cy="380"/>
          </a:xfrm>
        </p:grpSpPr>
        <p:sp>
          <p:nvSpPr>
            <p:cNvPr id="54" name="Freeform 16"/>
            <p:cNvSpPr>
              <a:spLocks/>
            </p:cNvSpPr>
            <p:nvPr/>
          </p:nvSpPr>
          <p:spPr bwMode="auto">
            <a:xfrm>
              <a:off x="3876" y="2419"/>
              <a:ext cx="324" cy="140"/>
            </a:xfrm>
            <a:custGeom>
              <a:avLst/>
              <a:gdLst>
                <a:gd name="T0" fmla="*/ 492 w 669"/>
                <a:gd name="T1" fmla="*/ 0 h 290"/>
                <a:gd name="T2" fmla="*/ 195 w 669"/>
                <a:gd name="T3" fmla="*/ 78 h 290"/>
                <a:gd name="T4" fmla="*/ 245 w 669"/>
                <a:gd name="T5" fmla="*/ 148 h 290"/>
                <a:gd name="T6" fmla="*/ 5 w 669"/>
                <a:gd name="T7" fmla="*/ 261 h 290"/>
                <a:gd name="T8" fmla="*/ 48 w 669"/>
                <a:gd name="T9" fmla="*/ 272 h 290"/>
                <a:gd name="T10" fmla="*/ 294 w 669"/>
                <a:gd name="T11" fmla="*/ 154 h 290"/>
                <a:gd name="T12" fmla="*/ 327 w 669"/>
                <a:gd name="T13" fmla="*/ 155 h 290"/>
                <a:gd name="T14" fmla="*/ 624 w 669"/>
                <a:gd name="T15" fmla="*/ 78 h 290"/>
                <a:gd name="T16" fmla="*/ 492 w 669"/>
                <a:gd name="T17" fmla="*/ 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9" h="290">
                  <a:moveTo>
                    <a:pt x="492" y="0"/>
                  </a:moveTo>
                  <a:cubicBezTo>
                    <a:pt x="373" y="0"/>
                    <a:pt x="240" y="35"/>
                    <a:pt x="195" y="78"/>
                  </a:cubicBezTo>
                  <a:cubicBezTo>
                    <a:pt x="162" y="109"/>
                    <a:pt x="184" y="136"/>
                    <a:pt x="245" y="148"/>
                  </a:cubicBezTo>
                  <a:cubicBezTo>
                    <a:pt x="5" y="261"/>
                    <a:pt x="5" y="261"/>
                    <a:pt x="5" y="261"/>
                  </a:cubicBezTo>
                  <a:cubicBezTo>
                    <a:pt x="9" y="284"/>
                    <a:pt x="0" y="290"/>
                    <a:pt x="48" y="272"/>
                  </a:cubicBezTo>
                  <a:cubicBezTo>
                    <a:pt x="294" y="154"/>
                    <a:pt x="294" y="154"/>
                    <a:pt x="294" y="154"/>
                  </a:cubicBezTo>
                  <a:cubicBezTo>
                    <a:pt x="304" y="155"/>
                    <a:pt x="315" y="155"/>
                    <a:pt x="327" y="155"/>
                  </a:cubicBezTo>
                  <a:cubicBezTo>
                    <a:pt x="445" y="155"/>
                    <a:pt x="578" y="120"/>
                    <a:pt x="624" y="78"/>
                  </a:cubicBezTo>
                  <a:cubicBezTo>
                    <a:pt x="669" y="35"/>
                    <a:pt x="610" y="0"/>
                    <a:pt x="492" y="0"/>
                  </a:cubicBezTo>
                  <a:close/>
                </a:path>
              </a:pathLst>
            </a:custGeom>
            <a:solidFill>
              <a:schemeClr val="tx1">
                <a:alpha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srgbClr val="003893"/>
                </a:solidFill>
                <a:latin typeface="Calibri" pitchFamily="34" charset="0"/>
                <a:ea typeface="ＭＳ Ｐゴシック"/>
                <a:cs typeface="Calibri" pitchFamily="34" charset="0"/>
              </a:endParaRPr>
            </a:p>
          </p:txBody>
        </p:sp>
        <p:pic>
          <p:nvPicPr>
            <p:cNvPr id="55" name="Picture 17" descr="grün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6612"/>
            <a:stretch>
              <a:fillRect/>
            </a:stretch>
          </p:blipFill>
          <p:spPr bwMode="auto">
            <a:xfrm rot="19961729">
              <a:off x="3726" y="2179"/>
              <a:ext cx="279" cy="3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06125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400" dirty="0" smtClean="0">
                <a:latin typeface="Calibri" pitchFamily="34" charset="0"/>
                <a:cs typeface="Calibri" pitchFamily="34" charset="0"/>
              </a:rPr>
              <a:t>TSF-Z </a:t>
            </a:r>
            <a:r>
              <a:rPr lang="es-ES" sz="2400" dirty="0" err="1" smtClean="0">
                <a:latin typeface="Calibri" pitchFamily="34" charset="0"/>
                <a:cs typeface="Calibri" pitchFamily="34" charset="0"/>
              </a:rPr>
              <a:t>Competence</a:t>
            </a:r>
            <a:r>
              <a:rPr lang="es-ES" sz="24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s-ES" sz="2400" dirty="0" err="1" smtClean="0">
                <a:latin typeface="Calibri" pitchFamily="34" charset="0"/>
                <a:cs typeface="Calibri" pitchFamily="34" charset="0"/>
              </a:rPr>
              <a:t>areas</a:t>
            </a:r>
            <a:r>
              <a:rPr lang="es-ES" sz="2400" dirty="0" smtClean="0">
                <a:latin typeface="Calibri" pitchFamily="34" charset="0"/>
                <a:cs typeface="Calibri" pitchFamily="34" charset="0"/>
              </a:rPr>
              <a:t/>
            </a:r>
            <a:br>
              <a:rPr lang="es-ES" sz="2400" dirty="0" smtClean="0">
                <a:latin typeface="Calibri" pitchFamily="34" charset="0"/>
                <a:cs typeface="Calibri" pitchFamily="34" charset="0"/>
              </a:rPr>
            </a:br>
            <a:r>
              <a:rPr lang="es-ES" sz="2000" b="0" i="1" dirty="0" err="1" smtClean="0">
                <a:latin typeface="Calibri" pitchFamily="34" charset="0"/>
                <a:cs typeface="Calibri" pitchFamily="34" charset="0"/>
              </a:rPr>
              <a:t>Main</a:t>
            </a:r>
            <a:r>
              <a:rPr lang="es-ES" sz="2000" b="0" i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s-ES" sz="2000" b="0" i="1" dirty="0" err="1" smtClean="0">
                <a:latin typeface="Calibri" pitchFamily="34" charset="0"/>
                <a:cs typeface="Calibri" pitchFamily="34" charset="0"/>
              </a:rPr>
              <a:t>standard</a:t>
            </a:r>
            <a:r>
              <a:rPr lang="es-ES" sz="2000" b="0" i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s-ES" sz="2000" b="0" i="1" dirty="0" err="1" smtClean="0">
                <a:latin typeface="Calibri" pitchFamily="34" charset="0"/>
                <a:cs typeface="Calibri" pitchFamily="34" charset="0"/>
              </a:rPr>
              <a:t>technologies</a:t>
            </a:r>
            <a:r>
              <a:rPr lang="es-ES" sz="2000" dirty="0" smtClean="0">
                <a:latin typeface="Calibri" pitchFamily="34" charset="0"/>
                <a:cs typeface="Calibri" pitchFamily="34" charset="0"/>
              </a:rPr>
              <a:t/>
            </a:r>
            <a:br>
              <a:rPr lang="es-ES" sz="2000" dirty="0" smtClean="0">
                <a:latin typeface="Calibri" pitchFamily="34" charset="0"/>
                <a:cs typeface="Calibri" pitchFamily="34" charset="0"/>
              </a:rPr>
            </a:br>
            <a:endParaRPr lang="es-ES" sz="20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AADB0B-2FD4-484F-86A1-4984AC18928C}" type="slidenum">
              <a:rPr lang="en-GB" smtClean="0">
                <a:solidFill>
                  <a:srgbClr val="808080"/>
                </a:solidFill>
              </a:rPr>
              <a:pPr>
                <a:defRPr/>
              </a:pPr>
              <a:t>7</a:t>
            </a:fld>
            <a:endParaRPr lang="en-GB">
              <a:solidFill>
                <a:srgbClr val="808080"/>
              </a:solidFill>
            </a:endParaRPr>
          </a:p>
        </p:txBody>
      </p:sp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val="1232562876"/>
              </p:ext>
            </p:extLst>
          </p:nvPr>
        </p:nvGraphicFramePr>
        <p:xfrm>
          <a:off x="519766" y="548680"/>
          <a:ext cx="8117955" cy="554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1 Título"/>
          <p:cNvSpPr txBox="1">
            <a:spLocks/>
          </p:cNvSpPr>
          <p:nvPr/>
        </p:nvSpPr>
        <p:spPr bwMode="auto">
          <a:xfrm>
            <a:off x="1837420" y="4980307"/>
            <a:ext cx="5482648" cy="392909"/>
          </a:xfrm>
          <a:prstGeom prst="rect">
            <a:avLst/>
          </a:prstGeom>
          <a:noFill/>
          <a:ln>
            <a:noFill/>
          </a:ln>
          <a:effectLst/>
          <a:scene3d>
            <a:camera prst="perspectiveRelaxedModerately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73CF"/>
                </a:solidFill>
                <a:effectLst/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Development</a:t>
            </a:r>
            <a:r>
              <a:rPr kumimoji="0" lang="es-E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73CF"/>
                </a:solidFill>
                <a:effectLst/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 and </a:t>
            </a:r>
            <a:r>
              <a:rPr kumimoji="0" lang="es-ES" sz="2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73CF"/>
                </a:solidFill>
                <a:effectLst/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support</a:t>
            </a:r>
            <a:endParaRPr kumimoji="0" lang="es-ES" sz="2000" b="1" i="0" u="none" strike="noStrike" kern="0" cap="none" spc="0" normalizeH="0" baseline="0" noProof="0" dirty="0">
              <a:ln>
                <a:noFill/>
              </a:ln>
              <a:solidFill>
                <a:srgbClr val="0073CF"/>
              </a:solidFill>
              <a:effectLst/>
              <a:uLnTx/>
              <a:uFillTx/>
              <a:latin typeface="Calibri" pitchFamily="34" charset="0"/>
              <a:ea typeface="+mj-ea"/>
              <a:cs typeface="Calibri" pitchFamily="34" charset="0"/>
            </a:endParaRPr>
          </a:p>
        </p:txBody>
      </p:sp>
      <p:sp>
        <p:nvSpPr>
          <p:cNvPr id="6" name="CasellaDiTesto 1"/>
          <p:cNvSpPr txBox="1"/>
          <p:nvPr/>
        </p:nvSpPr>
        <p:spPr>
          <a:xfrm>
            <a:off x="107504" y="6021288"/>
            <a:ext cx="89289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 smtClean="0">
                <a:solidFill>
                  <a:srgbClr val="003893"/>
                </a:solidFill>
                <a:latin typeface="Calibri" pitchFamily="34" charset="0"/>
                <a:cs typeface="Calibri" pitchFamily="34" charset="0"/>
              </a:rPr>
              <a:t>Constantly-evolving portfolio, new technologies to be tested and potentially incorporated </a:t>
            </a:r>
            <a:endParaRPr lang="en-US" sz="1200" i="1" dirty="0">
              <a:solidFill>
                <a:srgbClr val="003893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945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 txBox="1">
            <a:spLocks noChangeArrowheads="1"/>
          </p:cNvSpPr>
          <p:nvPr/>
        </p:nvSpPr>
        <p:spPr bwMode="auto">
          <a:xfrm>
            <a:off x="685800" y="1330325"/>
            <a:ext cx="7620000" cy="1031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 sz="2400">
                <a:solidFill>
                  <a:srgbClr val="0073CF"/>
                </a:solidFill>
                <a:latin typeface="+mn-lt"/>
                <a:ea typeface="+mn-ea"/>
                <a:cs typeface="+mn-cs"/>
              </a:defRPr>
            </a:lvl1pPr>
            <a:lvl2pPr marL="355600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73CF"/>
                </a:solidFill>
                <a:latin typeface="+mn-lt"/>
                <a:ea typeface="+mn-ea"/>
              </a:defRPr>
            </a:lvl2pPr>
            <a:lvl3pPr marL="723900" indent="-8731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0073CF"/>
                </a:solidFill>
                <a:latin typeface="+mn-lt"/>
                <a:ea typeface="+mn-ea"/>
              </a:defRPr>
            </a:lvl3pPr>
            <a:lvl4pPr marL="1079500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rgbClr val="0073CF"/>
                </a:solidFill>
                <a:latin typeface="+mn-lt"/>
                <a:ea typeface="+mn-ea"/>
              </a:defRPr>
            </a:lvl4pPr>
            <a:lvl5pPr marL="1435100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rgbClr val="0073CF"/>
                </a:solidFill>
                <a:latin typeface="+mn-lt"/>
                <a:ea typeface="+mn-ea"/>
              </a:defRPr>
            </a:lvl5pPr>
            <a:lvl6pPr marL="1892300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rgbClr val="0073CF"/>
                </a:solidFill>
                <a:latin typeface="+mn-lt"/>
                <a:ea typeface="+mn-ea"/>
              </a:defRPr>
            </a:lvl6pPr>
            <a:lvl7pPr marL="2349500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rgbClr val="0073CF"/>
                </a:solidFill>
                <a:latin typeface="+mn-lt"/>
                <a:ea typeface="+mn-ea"/>
              </a:defRPr>
            </a:lvl7pPr>
            <a:lvl8pPr marL="2806700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rgbClr val="0073CF"/>
                </a:solidFill>
                <a:latin typeface="+mn-lt"/>
                <a:ea typeface="+mn-ea"/>
              </a:defRPr>
            </a:lvl8pPr>
            <a:lvl9pPr marL="3263900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rgbClr val="0073CF"/>
                </a:solidFill>
                <a:latin typeface="+mn-lt"/>
                <a:ea typeface="+mn-ea"/>
              </a:defRPr>
            </a:lvl9pPr>
          </a:lstStyle>
          <a:p>
            <a:endParaRPr lang="en-GB" b="1" dirty="0" smtClean="0"/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2644118758"/>
              </p:ext>
            </p:extLst>
          </p:nvPr>
        </p:nvGraphicFramePr>
        <p:xfrm>
          <a:off x="107504" y="1196752"/>
          <a:ext cx="8928992" cy="51125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Slide Number Placeholder 4"/>
          <p:cNvSpPr txBox="1">
            <a:spLocks noGrp="1"/>
          </p:cNvSpPr>
          <p:nvPr/>
        </p:nvSpPr>
        <p:spPr bwMode="auto">
          <a:xfrm>
            <a:off x="269875" y="6578600"/>
            <a:ext cx="360363" cy="306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BFB8F74A-7FD8-48B6-9336-7912FD506BAB}" type="slidenum">
              <a:rPr lang="en-US" sz="1200">
                <a:solidFill>
                  <a:srgbClr val="808080"/>
                </a:solidFill>
              </a:rPr>
              <a:pPr eaLnBrk="1" hangingPunct="1"/>
              <a:t>8</a:t>
            </a:fld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8" name="1 Título"/>
          <p:cNvSpPr>
            <a:spLocks noGrp="1"/>
          </p:cNvSpPr>
          <p:nvPr>
            <p:ph type="title"/>
          </p:nvPr>
        </p:nvSpPr>
        <p:spPr>
          <a:xfrm>
            <a:off x="269875" y="233363"/>
            <a:ext cx="6030913" cy="719137"/>
          </a:xfrm>
        </p:spPr>
        <p:txBody>
          <a:bodyPr/>
          <a:lstStyle/>
          <a:p>
            <a:r>
              <a:rPr lang="es-ES" dirty="0" smtClean="0">
                <a:latin typeface="Calibri" pitchFamily="34" charset="0"/>
                <a:cs typeface="Calibri" pitchFamily="34" charset="0"/>
              </a:rPr>
              <a:t>TSF Zaragoza </a:t>
            </a:r>
            <a:r>
              <a:rPr lang="es-ES" dirty="0" err="1" smtClean="0">
                <a:latin typeface="Calibri" pitchFamily="34" charset="0"/>
                <a:cs typeface="Calibri" pitchFamily="34" charset="0"/>
              </a:rPr>
              <a:t>Resource</a:t>
            </a:r>
            <a:r>
              <a:rPr lang="es-ES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s-ES" dirty="0" err="1" smtClean="0">
                <a:latin typeface="Calibri" pitchFamily="34" charset="0"/>
                <a:cs typeface="Calibri" pitchFamily="34" charset="0"/>
              </a:rPr>
              <a:t>model</a:t>
            </a:r>
            <a:r>
              <a:rPr lang="es-ES" dirty="0" smtClean="0">
                <a:latin typeface="Calibri" pitchFamily="34" charset="0"/>
                <a:cs typeface="Calibri" pitchFamily="34" charset="0"/>
              </a:rPr>
              <a:t/>
            </a:r>
            <a:br>
              <a:rPr lang="es-ES" dirty="0" smtClean="0">
                <a:latin typeface="Calibri" pitchFamily="34" charset="0"/>
                <a:cs typeface="Calibri" pitchFamily="34" charset="0"/>
              </a:rPr>
            </a:br>
            <a:endParaRPr lang="es-ES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2768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400" dirty="0" smtClean="0">
                <a:latin typeface="Calibri" pitchFamily="34" charset="0"/>
                <a:cs typeface="Calibri" pitchFamily="34" charset="0"/>
              </a:rPr>
              <a:t>TSF-Z </a:t>
            </a:r>
            <a:r>
              <a:rPr lang="es-ES" sz="2400" dirty="0" err="1" smtClean="0">
                <a:latin typeface="Calibri" pitchFamily="34" charset="0"/>
                <a:cs typeface="Calibri" pitchFamily="34" charset="0"/>
              </a:rPr>
              <a:t>metrics</a:t>
            </a:r>
            <a:r>
              <a:rPr lang="es-ES" sz="2400" dirty="0" smtClean="0">
                <a:latin typeface="Calibri" pitchFamily="34" charset="0"/>
                <a:cs typeface="Calibri" pitchFamily="34" charset="0"/>
              </a:rPr>
              <a:t/>
            </a:r>
            <a:br>
              <a:rPr lang="es-ES" sz="2400" dirty="0" smtClean="0">
                <a:latin typeface="Calibri" pitchFamily="34" charset="0"/>
                <a:cs typeface="Calibri" pitchFamily="34" charset="0"/>
              </a:rPr>
            </a:br>
            <a:endParaRPr lang="es-ES" sz="18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AADB0B-2FD4-484F-86A1-4984AC18928C}" type="slidenum">
              <a:rPr lang="en-GB" smtClean="0">
                <a:solidFill>
                  <a:srgbClr val="808080"/>
                </a:solidFill>
              </a:rPr>
              <a:pPr>
                <a:defRPr/>
              </a:pPr>
              <a:t>9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7" name="CasellaDiTesto 1"/>
          <p:cNvSpPr txBox="1"/>
          <p:nvPr/>
        </p:nvSpPr>
        <p:spPr>
          <a:xfrm rot="10800000" flipV="1">
            <a:off x="827584" y="4149080"/>
            <a:ext cx="131191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i="1" dirty="0" smtClean="0">
                <a:solidFill>
                  <a:srgbClr val="003893"/>
                </a:solidFill>
                <a:latin typeface="Calibri" pitchFamily="34" charset="0"/>
                <a:cs typeface="Calibri" pitchFamily="34" charset="0"/>
              </a:rPr>
              <a:t>Working for all AH and Boots business entities</a:t>
            </a:r>
            <a:endParaRPr lang="en-US" sz="1000" i="1" dirty="0">
              <a:solidFill>
                <a:srgbClr val="003893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Freccia in su 42"/>
          <p:cNvSpPr/>
          <p:nvPr/>
        </p:nvSpPr>
        <p:spPr>
          <a:xfrm>
            <a:off x="1955350" y="3948761"/>
            <a:ext cx="368304" cy="754317"/>
          </a:xfrm>
          <a:prstGeom prst="upArrow">
            <a:avLst>
              <a:gd name="adj1" fmla="val 37482"/>
              <a:gd name="adj2" fmla="val 32002"/>
            </a:avLst>
          </a:prstGeom>
          <a:gradFill>
            <a:gsLst>
              <a:gs pos="0">
                <a:schemeClr val="accent3">
                  <a:shade val="51000"/>
                  <a:satMod val="130000"/>
                </a:schemeClr>
              </a:gs>
              <a:gs pos="32000">
                <a:schemeClr val="accent3">
                  <a:shade val="93000"/>
                  <a:satMod val="130000"/>
                </a:schemeClr>
              </a:gs>
              <a:gs pos="55000">
                <a:schemeClr val="accent3">
                  <a:shade val="94000"/>
                  <a:satMod val="135000"/>
                  <a:alpha val="50000"/>
                </a:schemeClr>
              </a:gs>
            </a:gsLst>
          </a:gra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3893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Freccia in su 42"/>
          <p:cNvSpPr/>
          <p:nvPr/>
        </p:nvSpPr>
        <p:spPr>
          <a:xfrm rot="2509763">
            <a:off x="3655894" y="3921494"/>
            <a:ext cx="368304" cy="1280439"/>
          </a:xfrm>
          <a:prstGeom prst="upArrow">
            <a:avLst>
              <a:gd name="adj1" fmla="val 37482"/>
              <a:gd name="adj2" fmla="val 32002"/>
            </a:avLst>
          </a:prstGeom>
          <a:gradFill>
            <a:gsLst>
              <a:gs pos="0">
                <a:schemeClr val="accent3">
                  <a:shade val="51000"/>
                  <a:satMod val="130000"/>
                </a:schemeClr>
              </a:gs>
              <a:gs pos="32000">
                <a:schemeClr val="accent3">
                  <a:shade val="93000"/>
                  <a:satMod val="130000"/>
                </a:schemeClr>
              </a:gs>
              <a:gs pos="55000">
                <a:schemeClr val="accent3">
                  <a:shade val="94000"/>
                  <a:satMod val="135000"/>
                  <a:alpha val="50000"/>
                </a:schemeClr>
              </a:gs>
            </a:gsLst>
          </a:gra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3893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1" name="CasellaDiTesto 1"/>
          <p:cNvSpPr txBox="1"/>
          <p:nvPr/>
        </p:nvSpPr>
        <p:spPr>
          <a:xfrm rot="10800000" flipV="1">
            <a:off x="2107955" y="5504182"/>
            <a:ext cx="131191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i="1" dirty="0" smtClean="0">
                <a:solidFill>
                  <a:srgbClr val="003893"/>
                </a:solidFill>
                <a:latin typeface="Calibri" pitchFamily="34" charset="0"/>
                <a:cs typeface="Calibri" pitchFamily="34" charset="0"/>
              </a:rPr>
              <a:t>Detailed profile analysis – interesting results per area</a:t>
            </a:r>
            <a:endParaRPr lang="en-US" sz="1000" i="1" dirty="0">
              <a:solidFill>
                <a:srgbClr val="003893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" name="Freccia in su 42"/>
          <p:cNvSpPr/>
          <p:nvPr/>
        </p:nvSpPr>
        <p:spPr>
          <a:xfrm rot="5400000">
            <a:off x="4028340" y="5140962"/>
            <a:ext cx="368304" cy="1280439"/>
          </a:xfrm>
          <a:prstGeom prst="upArrow">
            <a:avLst>
              <a:gd name="adj1" fmla="val 37482"/>
              <a:gd name="adj2" fmla="val 32002"/>
            </a:avLst>
          </a:prstGeom>
          <a:gradFill>
            <a:gsLst>
              <a:gs pos="0">
                <a:schemeClr val="accent3">
                  <a:shade val="51000"/>
                  <a:satMod val="130000"/>
                </a:schemeClr>
              </a:gs>
              <a:gs pos="32000">
                <a:schemeClr val="accent3">
                  <a:shade val="93000"/>
                  <a:satMod val="130000"/>
                </a:schemeClr>
              </a:gs>
              <a:gs pos="55000">
                <a:schemeClr val="accent3">
                  <a:shade val="94000"/>
                  <a:satMod val="135000"/>
                  <a:alpha val="50000"/>
                </a:schemeClr>
              </a:gs>
            </a:gsLst>
          </a:gra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3893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CasellaDiTesto 1"/>
          <p:cNvSpPr txBox="1"/>
          <p:nvPr/>
        </p:nvSpPr>
        <p:spPr>
          <a:xfrm rot="7818214" flipV="1">
            <a:off x="2677005" y="4094474"/>
            <a:ext cx="158564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i="1" dirty="0" smtClean="0">
                <a:solidFill>
                  <a:srgbClr val="003893"/>
                </a:solidFill>
                <a:latin typeface="Calibri" pitchFamily="34" charset="0"/>
                <a:cs typeface="Calibri" pitchFamily="34" charset="0"/>
              </a:rPr>
              <a:t>Clear growing tendency, this will enable </a:t>
            </a:r>
            <a:r>
              <a:rPr lang="en-US" sz="1000" i="1" dirty="0" err="1" smtClean="0">
                <a:solidFill>
                  <a:srgbClr val="003893"/>
                </a:solidFill>
                <a:latin typeface="Calibri" pitchFamily="34" charset="0"/>
                <a:cs typeface="Calibri" pitchFamily="34" charset="0"/>
              </a:rPr>
              <a:t>dayrate</a:t>
            </a:r>
            <a:r>
              <a:rPr lang="en-US" sz="1000" i="1" dirty="0" smtClean="0">
                <a:solidFill>
                  <a:srgbClr val="003893"/>
                </a:solidFill>
                <a:latin typeface="Calibri" pitchFamily="34" charset="0"/>
                <a:cs typeface="Calibri" pitchFamily="34" charset="0"/>
              </a:rPr>
              <a:t> reduction</a:t>
            </a:r>
            <a:endParaRPr lang="en-US" sz="1000" i="1" dirty="0">
              <a:solidFill>
                <a:srgbClr val="003893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8" name="7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3709" y="1284005"/>
            <a:ext cx="5114795" cy="2379575"/>
          </a:xfrm>
          <a:prstGeom prst="rect">
            <a:avLst/>
          </a:prstGeom>
        </p:spPr>
      </p:pic>
      <p:pic>
        <p:nvPicPr>
          <p:cNvPr id="15" name="14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056" y="3833757"/>
            <a:ext cx="4002489" cy="2331547"/>
          </a:xfrm>
          <a:prstGeom prst="rect">
            <a:avLst/>
          </a:prstGeom>
        </p:spPr>
      </p:pic>
      <p:pic>
        <p:nvPicPr>
          <p:cNvPr id="17" name="16 Image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284004"/>
            <a:ext cx="3816424" cy="2379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028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BvWaJAwkamCqwk070Vjg"/>
</p:tagLst>
</file>

<file path=ppt/theme/theme1.xml><?xml version="1.0" encoding="utf-8"?>
<a:theme xmlns:a="http://schemas.openxmlformats.org/drawingml/2006/main" name="TSFZ">
  <a:themeElements>
    <a:clrScheme name="1_Format AH PPT 8">
      <a:dk1>
        <a:srgbClr val="003893"/>
      </a:dk1>
      <a:lt1>
        <a:srgbClr val="FFFFFF"/>
      </a:lt1>
      <a:dk2>
        <a:srgbClr val="000000"/>
      </a:dk2>
      <a:lt2>
        <a:srgbClr val="808080"/>
      </a:lt2>
      <a:accent1>
        <a:srgbClr val="1EB53A"/>
      </a:accent1>
      <a:accent2>
        <a:srgbClr val="0082D1"/>
      </a:accent2>
      <a:accent3>
        <a:srgbClr val="FFFFFF"/>
      </a:accent3>
      <a:accent4>
        <a:srgbClr val="002E7D"/>
      </a:accent4>
      <a:accent5>
        <a:srgbClr val="ABD7AE"/>
      </a:accent5>
      <a:accent6>
        <a:srgbClr val="0075BD"/>
      </a:accent6>
      <a:hlink>
        <a:srgbClr val="003893"/>
      </a:hlink>
      <a:folHlink>
        <a:srgbClr val="B2B2B2"/>
      </a:folHlink>
    </a:clrScheme>
    <a:fontScheme name="1_Format AH PPT">
      <a:majorFont>
        <a:latin typeface="Arial"/>
        <a:ea typeface="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Format AH PPT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Format AH PP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ormat AH PPT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ormat AH PPT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ormat AH PPT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ormat AH PPT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ormat AH PPT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ormat AH PPT 8">
        <a:dk1>
          <a:srgbClr val="003893"/>
        </a:dk1>
        <a:lt1>
          <a:srgbClr val="FFFFFF"/>
        </a:lt1>
        <a:dk2>
          <a:srgbClr val="000000"/>
        </a:dk2>
        <a:lt2>
          <a:srgbClr val="808080"/>
        </a:lt2>
        <a:accent1>
          <a:srgbClr val="1EB53A"/>
        </a:accent1>
        <a:accent2>
          <a:srgbClr val="0082D1"/>
        </a:accent2>
        <a:accent3>
          <a:srgbClr val="FFFFFF"/>
        </a:accent3>
        <a:accent4>
          <a:srgbClr val="002E7D"/>
        </a:accent4>
        <a:accent5>
          <a:srgbClr val="ABD7AE"/>
        </a:accent5>
        <a:accent6>
          <a:srgbClr val="0075BD"/>
        </a:accent6>
        <a:hlink>
          <a:srgbClr val="003893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ormat AH PPT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0C1E8"/>
        </a:accent1>
        <a:accent2>
          <a:srgbClr val="003893"/>
        </a:accent2>
        <a:accent3>
          <a:srgbClr val="FFFFFF"/>
        </a:accent3>
        <a:accent4>
          <a:srgbClr val="000000"/>
        </a:accent4>
        <a:accent5>
          <a:srgbClr val="C0DDF2"/>
        </a:accent5>
        <a:accent6>
          <a:srgbClr val="003285"/>
        </a:accent6>
        <a:hlink>
          <a:srgbClr val="89D695"/>
        </a:hlink>
        <a:folHlink>
          <a:srgbClr val="1EB53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985</TotalTime>
  <Words>573</Words>
  <Application>Microsoft Office PowerPoint</Application>
  <PresentationFormat>Presentación en pantalla (4:3)</PresentationFormat>
  <Paragraphs>125</Paragraphs>
  <Slides>11</Slides>
  <Notes>2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11</vt:i4>
      </vt:variant>
    </vt:vector>
  </HeadingPairs>
  <TitlesOfParts>
    <vt:vector size="12" baseType="lpstr">
      <vt:lpstr>TSFZ</vt:lpstr>
      <vt:lpstr>IT resources – TSF-Z</vt:lpstr>
      <vt:lpstr>Presentación de PowerPoint</vt:lpstr>
      <vt:lpstr>Who we are? Simplification – not official!</vt:lpstr>
      <vt:lpstr>Presentación de PowerPoint</vt:lpstr>
      <vt:lpstr>Presentación de PowerPoint</vt:lpstr>
      <vt:lpstr>The Software Factory of Zaragoza Mission and goals</vt:lpstr>
      <vt:lpstr>TSF-Z Competence areas Main standard technologies </vt:lpstr>
      <vt:lpstr>TSF Zaragoza Resource model </vt:lpstr>
      <vt:lpstr>TSF-Z metrics </vt:lpstr>
      <vt:lpstr>Key messages 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liance Healthcare</dc:title>
  <dc:creator>Guest, Gareth</dc:creator>
  <cp:lastModifiedBy>usuario</cp:lastModifiedBy>
  <cp:revision>77</cp:revision>
  <dcterms:created xsi:type="dcterms:W3CDTF">2012-11-02T10:43:21Z</dcterms:created>
  <dcterms:modified xsi:type="dcterms:W3CDTF">2014-10-26T05:40:00Z</dcterms:modified>
</cp:coreProperties>
</file>